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51" r:id="rId4"/>
  </p:sldMasterIdLst>
  <p:notesMasterIdLst>
    <p:notesMasterId r:id="rId15"/>
  </p:notesMasterIdLst>
  <p:handoutMasterIdLst>
    <p:handoutMasterId r:id="rId16"/>
  </p:handoutMasterIdLst>
  <p:sldIdLst>
    <p:sldId id="315" r:id="rId5"/>
    <p:sldId id="333" r:id="rId6"/>
    <p:sldId id="319" r:id="rId7"/>
    <p:sldId id="332" r:id="rId8"/>
    <p:sldId id="334" r:id="rId9"/>
    <p:sldId id="321" r:id="rId10"/>
    <p:sldId id="322" r:id="rId11"/>
    <p:sldId id="325" r:id="rId12"/>
    <p:sldId id="326" r:id="rId13"/>
    <p:sldId id="335" r:id="rId14"/>
  </p:sldIdLst>
  <p:sldSz cx="9144000" cy="6858000" type="screen4x3"/>
  <p:notesSz cx="9926638" cy="14355763"/>
  <p:custDataLst>
    <p:tags r:id="rId17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Projektvorstellung" id="{278A6072-39EB-42BA-9A40-7B0C4E10D91E}">
          <p14:sldIdLst>
            <p14:sldId id="315"/>
            <p14:sldId id="333"/>
            <p14:sldId id="319"/>
            <p14:sldId id="332"/>
            <p14:sldId id="334"/>
            <p14:sldId id="321"/>
            <p14:sldId id="322"/>
            <p14:sldId id="325"/>
            <p14:sldId id="326"/>
            <p14:sldId id="335"/>
          </p14:sldIdLst>
        </p14:section>
      </p14:section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. Telöken" initials="Te" lastIdx="7" clrIdx="0"/>
  <p:cmAuthor id="1" name="Jundel, Sven" initials="SJ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4DCEE"/>
    <a:srgbClr val="8CD5E4"/>
    <a:srgbClr val="57C2D7"/>
    <a:srgbClr val="89BA17"/>
    <a:srgbClr val="FFFFFF"/>
    <a:srgbClr val="FF0000"/>
    <a:srgbClr val="9A8400"/>
    <a:srgbClr val="CCAF00"/>
    <a:srgbClr val="49640C"/>
    <a:srgbClr val="64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407" autoAdjust="0"/>
    <p:restoredTop sz="81943" autoAdjust="0"/>
  </p:normalViewPr>
  <p:slideViewPr>
    <p:cSldViewPr showGuides="1">
      <p:cViewPr>
        <p:scale>
          <a:sx n="96" d="100"/>
          <a:sy n="96" d="100"/>
        </p:scale>
        <p:origin x="-1428" y="-72"/>
      </p:cViewPr>
      <p:guideLst>
        <p:guide orient="horz" pos="3838"/>
        <p:guide orient="horz" pos="595"/>
        <p:guide orient="horz" pos="799"/>
        <p:guide orient="horz" pos="2364"/>
        <p:guide pos="2925"/>
        <p:guide pos="2835"/>
        <p:guide pos="158"/>
        <p:guide pos="560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66" d="100"/>
        <a:sy n="66" d="100"/>
      </p:scale>
      <p:origin x="0" y="0"/>
    </p:cViewPr>
  </p:notesTextViewPr>
  <p:notesViewPr>
    <p:cSldViewPr showGuides="1">
      <p:cViewPr varScale="1">
        <p:scale>
          <a:sx n="90" d="100"/>
          <a:sy n="90" d="100"/>
        </p:scale>
        <p:origin x="-3870" y="-108"/>
      </p:cViewPr>
      <p:guideLst>
        <p:guide orient="horz" pos="4522"/>
        <p:guide pos="3127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4" y="0"/>
            <a:ext cx="4301052" cy="718838"/>
          </a:xfrm>
          <a:prstGeom prst="rect">
            <a:avLst/>
          </a:prstGeom>
        </p:spPr>
        <p:txBody>
          <a:bodyPr vert="horz" lIns="138725" tIns="69362" rIns="138725" bIns="69362" rtlCol="0"/>
          <a:lstStyle>
            <a:lvl1pPr algn="l">
              <a:spcAft>
                <a:spcPct val="100000"/>
              </a:spcAft>
              <a:buClr>
                <a:schemeClr val="accent1"/>
              </a:buClr>
              <a:buFont typeface="Arial" charset="0"/>
              <a:buNone/>
              <a:defRPr sz="1700">
                <a:latin typeface="Arial" charset="0"/>
                <a:ea typeface="ＭＳ Ｐゴシック" pitchFamily="-111" charset="-128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3127" y="0"/>
            <a:ext cx="4301052" cy="718838"/>
          </a:xfrm>
          <a:prstGeom prst="rect">
            <a:avLst/>
          </a:prstGeom>
        </p:spPr>
        <p:txBody>
          <a:bodyPr vert="horz" wrap="square" lIns="138725" tIns="69362" rIns="138725" bIns="69362" numCol="1" anchor="t" anchorCtr="0" compatLnSpc="1">
            <a:prstTxWarp prst="textNoShape">
              <a:avLst/>
            </a:prstTxWarp>
          </a:bodyPr>
          <a:lstStyle>
            <a:lvl1pPr algn="r">
              <a:spcAft>
                <a:spcPct val="100000"/>
              </a:spcAft>
              <a:buClr>
                <a:schemeClr val="accent1"/>
              </a:buClr>
              <a:buFont typeface="Arial" charset="0"/>
              <a:buNone/>
              <a:defRPr sz="1700">
                <a:latin typeface="Arial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fld id="{13399790-5169-4EE6-88B8-212C688FC1BB}" type="datetime1">
              <a:rPr lang="de-DE"/>
              <a:pPr>
                <a:defRPr/>
              </a:pPr>
              <a:t>17.09.2017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4" y="13634303"/>
            <a:ext cx="4301052" cy="718838"/>
          </a:xfrm>
          <a:prstGeom prst="rect">
            <a:avLst/>
          </a:prstGeom>
        </p:spPr>
        <p:txBody>
          <a:bodyPr vert="horz" lIns="138725" tIns="69362" rIns="138725" bIns="69362" rtlCol="0" anchor="b"/>
          <a:lstStyle>
            <a:lvl1pPr algn="l">
              <a:spcAft>
                <a:spcPct val="100000"/>
              </a:spcAft>
              <a:buClr>
                <a:schemeClr val="accent1"/>
              </a:buClr>
              <a:buFont typeface="Arial" charset="0"/>
              <a:buNone/>
              <a:defRPr sz="1700">
                <a:latin typeface="Arial" charset="0"/>
                <a:ea typeface="ＭＳ Ｐゴシック" pitchFamily="-111" charset="-128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3127" y="13634303"/>
            <a:ext cx="4301052" cy="718838"/>
          </a:xfrm>
          <a:prstGeom prst="rect">
            <a:avLst/>
          </a:prstGeom>
        </p:spPr>
        <p:txBody>
          <a:bodyPr vert="horz" wrap="square" lIns="138725" tIns="69362" rIns="138725" bIns="69362" numCol="1" anchor="b" anchorCtr="0" compatLnSpc="1">
            <a:prstTxWarp prst="textNoShape">
              <a:avLst/>
            </a:prstTxWarp>
          </a:bodyPr>
          <a:lstStyle>
            <a:lvl1pPr algn="r">
              <a:spcAft>
                <a:spcPct val="100000"/>
              </a:spcAft>
              <a:buClr>
                <a:schemeClr val="accent1"/>
              </a:buClr>
              <a:buFont typeface="Arial" charset="0"/>
              <a:buNone/>
              <a:defRPr sz="1700">
                <a:latin typeface="Arial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fld id="{BE70A4B4-8618-4F67-96E8-3877B6226B21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950913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4" y="0"/>
            <a:ext cx="4301052" cy="718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8725" tIns="69362" rIns="138725" bIns="69362" numCol="1" anchor="t" anchorCtr="0" compatLnSpc="1">
            <a:prstTxWarp prst="textNoShape">
              <a:avLst/>
            </a:prstTxWarp>
          </a:bodyPr>
          <a:lstStyle>
            <a:lvl1pPr algn="l">
              <a:spcAft>
                <a:spcPct val="0"/>
              </a:spcAft>
              <a:buClrTx/>
              <a:buFontTx/>
              <a:buNone/>
              <a:defRPr sz="1700">
                <a:latin typeface="Arial" pitchFamily="23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266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623127" y="0"/>
            <a:ext cx="4301052" cy="718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8725" tIns="69362" rIns="138725" bIns="69362" numCol="1" anchor="t" anchorCtr="0" compatLnSpc="1">
            <a:prstTxWarp prst="textNoShape">
              <a:avLst/>
            </a:prstTxWarp>
          </a:bodyPr>
          <a:lstStyle>
            <a:lvl1pPr algn="r">
              <a:spcAft>
                <a:spcPct val="0"/>
              </a:spcAft>
              <a:buClrTx/>
              <a:buFontTx/>
              <a:buNone/>
              <a:defRPr sz="1700">
                <a:latin typeface="Arial" pitchFamily="23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584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01650" y="842963"/>
            <a:ext cx="8923338" cy="6691312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629" name="Rectangle 5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775577" y="7594382"/>
            <a:ext cx="8374553" cy="59493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266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4" y="13634303"/>
            <a:ext cx="4301052" cy="718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8725" tIns="69362" rIns="138725" bIns="69362" numCol="1" anchor="b" anchorCtr="0" compatLnSpc="1">
            <a:prstTxWarp prst="textNoShape">
              <a:avLst/>
            </a:prstTxWarp>
          </a:bodyPr>
          <a:lstStyle>
            <a:lvl1pPr algn="l">
              <a:spcAft>
                <a:spcPct val="0"/>
              </a:spcAft>
              <a:buClrTx/>
              <a:buFontTx/>
              <a:buNone/>
              <a:defRPr sz="1700">
                <a:latin typeface="Arial" pitchFamily="23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266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623127" y="13634303"/>
            <a:ext cx="4301052" cy="718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38725" tIns="69362" rIns="138725" bIns="69362" numCol="1" anchor="b" anchorCtr="0" compatLnSpc="1">
            <a:prstTxWarp prst="textNoShape">
              <a:avLst/>
            </a:prstTxWarp>
          </a:bodyPr>
          <a:lstStyle>
            <a:lvl1pPr algn="r">
              <a:defRPr sz="1700">
                <a:latin typeface="Arial" charset="0"/>
                <a:ea typeface="ＭＳ Ｐゴシック" charset="-128"/>
                <a:cs typeface="ＭＳ Ｐゴシック" charset="-128"/>
              </a:defRPr>
            </a:lvl1pPr>
          </a:lstStyle>
          <a:p>
            <a:pPr>
              <a:defRPr/>
            </a:pPr>
            <a:fld id="{5318E249-91E6-4DA4-B8CB-4D334EFC0544}" type="slidenum">
              <a:rPr lang="de-DE"/>
              <a:pPr>
                <a:defRPr/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472259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266700" indent="-266700" algn="l" rtl="0" eaLnBrk="0" fontAlgn="base" hangingPunct="0">
      <a:lnSpc>
        <a:spcPct val="110000"/>
      </a:lnSpc>
      <a:spcBef>
        <a:spcPct val="0"/>
      </a:spcBef>
      <a:spcAft>
        <a:spcPct val="20000"/>
      </a:spcAft>
      <a:buClr>
        <a:schemeClr val="accent1"/>
      </a:buClr>
      <a:buFont typeface="Arial" charset="0"/>
      <a:buChar char="&gt;"/>
      <a:tabLst>
        <a:tab pos="266700" algn="l"/>
        <a:tab pos="534988" algn="l"/>
        <a:tab pos="542925" algn="l"/>
        <a:tab pos="809625" algn="l"/>
        <a:tab pos="1076325" algn="l"/>
        <a:tab pos="1343025" algn="l"/>
      </a:tabLst>
      <a:defRPr kern="1200">
        <a:solidFill>
          <a:schemeClr val="tx1"/>
        </a:solidFill>
        <a:latin typeface="Arial" pitchFamily="23" charset="0"/>
        <a:ea typeface="ＭＳ Ｐゴシック" pitchFamily="-111" charset="-128"/>
        <a:cs typeface="ＭＳ Ｐゴシック" pitchFamily="-111" charset="-128"/>
      </a:defRPr>
    </a:lvl1pPr>
    <a:lvl2pPr marL="530225" indent="-261938" algn="l" rtl="0" eaLnBrk="0" fontAlgn="base" hangingPunct="0">
      <a:lnSpc>
        <a:spcPct val="110000"/>
      </a:lnSpc>
      <a:spcBef>
        <a:spcPct val="0"/>
      </a:spcBef>
      <a:spcAft>
        <a:spcPct val="20000"/>
      </a:spcAft>
      <a:buClr>
        <a:schemeClr val="accent1"/>
      </a:buClr>
      <a:buFont typeface="Arial" charset="0"/>
      <a:buChar char="–"/>
      <a:tabLst>
        <a:tab pos="266700" algn="l"/>
        <a:tab pos="534988" algn="l"/>
        <a:tab pos="542925" algn="l"/>
        <a:tab pos="809625" algn="l"/>
        <a:tab pos="1076325" algn="l"/>
        <a:tab pos="1343025" algn="l"/>
      </a:tabLst>
      <a:defRPr kern="1200">
        <a:solidFill>
          <a:schemeClr val="tx1"/>
        </a:solidFill>
        <a:latin typeface="Arial" pitchFamily="23" charset="0"/>
        <a:ea typeface="ＭＳ Ｐゴシック" pitchFamily="23" charset="-128"/>
        <a:cs typeface="ＭＳ Ｐゴシック"/>
      </a:defRPr>
    </a:lvl2pPr>
    <a:lvl3pPr marL="806450" indent="-274638" algn="l" rtl="0" eaLnBrk="0" fontAlgn="base" hangingPunct="0">
      <a:lnSpc>
        <a:spcPct val="110000"/>
      </a:lnSpc>
      <a:spcBef>
        <a:spcPct val="0"/>
      </a:spcBef>
      <a:spcAft>
        <a:spcPct val="20000"/>
      </a:spcAft>
      <a:buClr>
        <a:schemeClr val="accent1"/>
      </a:buClr>
      <a:buFont typeface="Arial" charset="0"/>
      <a:buChar char="•"/>
      <a:tabLst>
        <a:tab pos="266700" algn="l"/>
        <a:tab pos="534988" algn="l"/>
        <a:tab pos="542925" algn="l"/>
        <a:tab pos="809625" algn="l"/>
        <a:tab pos="1076325" algn="l"/>
        <a:tab pos="1343025" algn="l"/>
      </a:tabLst>
      <a:defRPr kern="1200">
        <a:solidFill>
          <a:schemeClr val="tx1"/>
        </a:solidFill>
        <a:latin typeface="Arial" pitchFamily="23" charset="0"/>
        <a:ea typeface="ＭＳ Ｐゴシック" pitchFamily="23" charset="-128"/>
        <a:cs typeface="ＭＳ Ｐゴシック"/>
      </a:defRPr>
    </a:lvl3pPr>
    <a:lvl4pPr marL="1073150" indent="-265113" algn="l" rtl="0" eaLnBrk="0" fontAlgn="base" hangingPunct="0">
      <a:lnSpc>
        <a:spcPct val="110000"/>
      </a:lnSpc>
      <a:spcBef>
        <a:spcPct val="0"/>
      </a:spcBef>
      <a:spcAft>
        <a:spcPct val="20000"/>
      </a:spcAft>
      <a:buClr>
        <a:schemeClr val="accent1"/>
      </a:buClr>
      <a:buFont typeface="Arial" charset="0"/>
      <a:buChar char="–"/>
      <a:tabLst>
        <a:tab pos="266700" algn="l"/>
        <a:tab pos="534988" algn="l"/>
        <a:tab pos="542925" algn="l"/>
        <a:tab pos="809625" algn="l"/>
        <a:tab pos="1076325" algn="l"/>
        <a:tab pos="1343025" algn="l"/>
      </a:tabLst>
      <a:defRPr kern="1200">
        <a:solidFill>
          <a:schemeClr val="tx1"/>
        </a:solidFill>
        <a:latin typeface="Arial" pitchFamily="23" charset="0"/>
        <a:ea typeface="ＭＳ Ｐゴシック" pitchFamily="23" charset="-128"/>
        <a:cs typeface="ＭＳ Ｐゴシック"/>
      </a:defRPr>
    </a:lvl4pPr>
    <a:lvl5pPr marL="1339850" indent="-265113" algn="l" rtl="0" eaLnBrk="0" fontAlgn="base" hangingPunct="0">
      <a:lnSpc>
        <a:spcPct val="110000"/>
      </a:lnSpc>
      <a:spcBef>
        <a:spcPct val="0"/>
      </a:spcBef>
      <a:spcAft>
        <a:spcPct val="20000"/>
      </a:spcAft>
      <a:buClr>
        <a:schemeClr val="accent1"/>
      </a:buClr>
      <a:buChar char="•"/>
      <a:tabLst>
        <a:tab pos="266700" algn="l"/>
        <a:tab pos="534988" algn="l"/>
        <a:tab pos="542925" algn="l"/>
        <a:tab pos="809625" algn="l"/>
        <a:tab pos="1076325" algn="l"/>
        <a:tab pos="1343025" algn="l"/>
      </a:tabLst>
      <a:defRPr kern="1200">
        <a:solidFill>
          <a:schemeClr val="tx1"/>
        </a:solidFill>
        <a:latin typeface="Arial" pitchFamily="23" charset="0"/>
        <a:ea typeface="ＭＳ Ｐゴシック" pitchFamily="23" charset="-128"/>
        <a:cs typeface="ＭＳ Ｐゴシック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hyperlink" Target="http://venios.de/" TargetMode="External"/><Relationship Id="rId13" Type="http://schemas.openxmlformats.org/officeDocument/2006/relationships/image" Target="../media/image8.jpeg"/><Relationship Id="rId3" Type="http://schemas.openxmlformats.org/officeDocument/2006/relationships/image" Target="../media/image3.jpeg"/><Relationship Id="rId7" Type="http://schemas.openxmlformats.org/officeDocument/2006/relationships/image" Target="../media/image5.jpeg"/><Relationship Id="rId12" Type="http://schemas.openxmlformats.org/officeDocument/2006/relationships/hyperlink" Target="http://www.ptj.de/" TargetMode="External"/><Relationship Id="rId17" Type="http://schemas.openxmlformats.org/officeDocument/2006/relationships/image" Target="../media/image11.jpeg"/><Relationship Id="rId2" Type="http://schemas.openxmlformats.org/officeDocument/2006/relationships/hyperlink" Target="http://www.tu-dortmund.de/uni/Uni/index.html" TargetMode="External"/><Relationship Id="rId16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6" Type="http://schemas.openxmlformats.org/officeDocument/2006/relationships/hyperlink" Target="http://www.offis.de/" TargetMode="External"/><Relationship Id="rId11" Type="http://schemas.openxmlformats.org/officeDocument/2006/relationships/image" Target="../media/image2.png"/><Relationship Id="rId5" Type="http://schemas.openxmlformats.org/officeDocument/2006/relationships/image" Target="../media/image4.jpeg"/><Relationship Id="rId15" Type="http://schemas.openxmlformats.org/officeDocument/2006/relationships/image" Target="../media/image1.jpeg"/><Relationship Id="rId10" Type="http://schemas.openxmlformats.org/officeDocument/2006/relationships/image" Target="../media/image7.png"/><Relationship Id="rId4" Type="http://schemas.openxmlformats.org/officeDocument/2006/relationships/hyperlink" Target="http://www.iaew.rwth-aachen.de/" TargetMode="External"/><Relationship Id="rId9" Type="http://schemas.openxmlformats.org/officeDocument/2006/relationships/image" Target="../media/image6.jpeg"/><Relationship Id="rId14" Type="http://schemas.openxmlformats.org/officeDocument/2006/relationships/image" Target="../media/image9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bgerundetes Rechteck 2"/>
          <p:cNvSpPr/>
          <p:nvPr userDrawn="1"/>
        </p:nvSpPr>
        <p:spPr bwMode="auto">
          <a:xfrm>
            <a:off x="179512" y="3825233"/>
            <a:ext cx="8784000" cy="1692000"/>
          </a:xfrm>
          <a:prstGeom prst="roundRect">
            <a:avLst>
              <a:gd name="adj" fmla="val 9912"/>
            </a:avLst>
          </a:prstGeom>
          <a:solidFill>
            <a:schemeClr val="bg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266700" marR="0" indent="-26670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SzTx/>
              <a:buFont typeface="Arial" pitchFamily="34" charset="0"/>
              <a:buChar char="&gt;"/>
              <a:tabLst/>
            </a:pPr>
            <a:endParaRPr kumimoji="0" lang="de-DE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23" charset="0"/>
            </a:endParaRPr>
          </a:p>
        </p:txBody>
      </p:sp>
      <p:sp>
        <p:nvSpPr>
          <p:cNvPr id="8" name="Rechteck 7"/>
          <p:cNvSpPr/>
          <p:nvPr userDrawn="1"/>
        </p:nvSpPr>
        <p:spPr bwMode="auto">
          <a:xfrm>
            <a:off x="508" y="6129301"/>
            <a:ext cx="9144000" cy="73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266700" marR="0" indent="-26670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SzTx/>
              <a:buFont typeface="Arial" pitchFamily="34" charset="0"/>
              <a:buChar char="&gt;"/>
              <a:tabLst/>
            </a:pPr>
            <a:endParaRPr kumimoji="0" lang="de-DE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23" charset="0"/>
            </a:endParaRPr>
          </a:p>
        </p:txBody>
      </p:sp>
      <p:sp>
        <p:nvSpPr>
          <p:cNvPr id="2355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" y="1772920"/>
            <a:ext cx="9144508" cy="936000"/>
          </a:xfrm>
        </p:spPr>
        <p:txBody>
          <a:bodyPr tIns="0" anchor="ctr"/>
          <a:lstStyle>
            <a:lvl1pPr>
              <a:defRPr sz="32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55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10" y="2708920"/>
            <a:ext cx="9143492" cy="936104"/>
          </a:xfrm>
          <a:solidFill>
            <a:schemeClr val="accent3"/>
          </a:solidFill>
          <a:ln>
            <a:noFill/>
          </a:ln>
        </p:spPr>
        <p:txBody>
          <a:bodyPr vert="horz" wrap="square" lIns="252000" tIns="0" rIns="252000" bIns="72000" numCol="1" anchor="ctr" anchorCtr="0" compatLnSpc="1">
            <a:prstTxWarp prst="textNoShape">
              <a:avLst/>
            </a:prstTxWarp>
          </a:bodyPr>
          <a:lstStyle>
            <a:lvl1pPr>
              <a:buNone/>
              <a:defRPr lang="de-DE" sz="2400" dirty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marL="0" lvl="0" indent="0" defTabSz="536575">
              <a:spcBef>
                <a:spcPct val="0"/>
              </a:spcBef>
              <a:spcAft>
                <a:spcPct val="0"/>
              </a:spcAft>
            </a:pPr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pic>
        <p:nvPicPr>
          <p:cNvPr id="27654" name="Bild 3" descr="http://www.rwe.com/web/cms/mediablob/de/2878240/data/1/blob.jpg">
            <a:hlinkClick r:id="rId2" tooltip="&quot;&quot;"/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8915" y="4638668"/>
            <a:ext cx="1188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653" name="Bild 4" descr="http://www.rwe.com/web/cms/mediablob/de/2878242/data/1/blob.jpg">
            <a:hlinkClick r:id="rId4" tooltip="&quot;&quot;"/>
          </p:cNvPr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61" r="5389"/>
          <a:stretch/>
        </p:blipFill>
        <p:spPr bwMode="auto">
          <a:xfrm>
            <a:off x="1515180" y="4710668"/>
            <a:ext cx="1184612" cy="5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652" name="Bild 5" descr="http://www.rwe.com/web/cms/mediablob/de/2878250/data/1/blob.jpg">
            <a:hlinkClick r:id="rId6" tooltip="&quot;&quot;"/>
          </p:cNvPr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2925" y="4710668"/>
            <a:ext cx="987431" cy="5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651" name="Bild 6" descr="http://www.rwe.com/web/cms/mediablob/de/2878258/data/1/blob.jpg">
            <a:hlinkClick r:id="rId8" tooltip="&quot;&quot;"/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9634" y="4060961"/>
            <a:ext cx="1357715" cy="43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10"/>
          <p:cNvSpPr>
            <a:spLocks noChangeArrowheads="1"/>
          </p:cNvSpPr>
          <p:nvPr userDrawn="1"/>
        </p:nvSpPr>
        <p:spPr bwMode="auto">
          <a:xfrm>
            <a:off x="4" y="2187060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 dirty="0"/>
          </a:p>
        </p:txBody>
      </p:sp>
      <p:pic>
        <p:nvPicPr>
          <p:cNvPr id="27661" name="Picture 13"/>
          <p:cNvPicPr>
            <a:picLocks noChangeAspect="1" noChangeArrowheads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46474" y="3988961"/>
            <a:ext cx="1493980" cy="57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" name="Picture 4"/>
          <p:cNvPicPr>
            <a:picLocks noChangeAspect="1" noChangeArrowheads="1"/>
          </p:cNvPicPr>
          <p:nvPr userDrawn="1"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73" t="12402" r="6036" b="20824"/>
          <a:stretch/>
        </p:blipFill>
        <p:spPr bwMode="auto">
          <a:xfrm>
            <a:off x="416975" y="5985345"/>
            <a:ext cx="2498127" cy="54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Bild 8" descr="http://www.rwe.com/web/cms/mediablob/de/2878278/data/1/blob.jpg">
            <a:hlinkClick r:id="rId12" tgtFrame="_blank" tooltip="&quot;&quot;"/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2799" y="6057340"/>
            <a:ext cx="629523" cy="432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27663" name="Picture 15" descr="https://upload.wikimedia.org/wikipedia/de/thumb/5/5d/BTC_AG_Logo.svg/691px-BTC_AG_Logo.svg.png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7809" y="4006961"/>
            <a:ext cx="1541903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hteck 17"/>
          <p:cNvSpPr/>
          <p:nvPr userDrawn="1"/>
        </p:nvSpPr>
        <p:spPr bwMode="auto">
          <a:xfrm>
            <a:off x="-508" y="-9276"/>
            <a:ext cx="9144000" cy="954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266700" marR="0" indent="-26670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SzTx/>
              <a:buFont typeface="Arial" pitchFamily="34" charset="0"/>
              <a:buChar char="&gt;"/>
              <a:tabLst/>
            </a:pPr>
            <a:endParaRPr kumimoji="0" lang="de-DE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23" charset="0"/>
            </a:endParaRPr>
          </a:p>
        </p:txBody>
      </p:sp>
      <p:pic>
        <p:nvPicPr>
          <p:cNvPr id="19" name="Grafik 18" descr="C:\Users\r889029\AppData\Local\Temp\7zEBB47.tmp\RWE_Logo_ProaktivesNetz_positiv.jpg"/>
          <p:cNvPicPr>
            <a:picLocks noChangeAspect="1"/>
          </p:cNvPicPr>
          <p:nvPr userDrawn="1"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44" t="16974" r="5329" b="15142"/>
          <a:stretch/>
        </p:blipFill>
        <p:spPr bwMode="auto">
          <a:xfrm>
            <a:off x="1863432" y="368660"/>
            <a:ext cx="5417143" cy="108000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3988961"/>
            <a:ext cx="576064" cy="863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1" name="Picture 4" descr="Bundesministerium für Wirtschaft und Energie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3464" y="5897120"/>
            <a:ext cx="866672" cy="7164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129917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" y="1772920"/>
            <a:ext cx="9144508" cy="936000"/>
          </a:xfrm>
        </p:spPr>
        <p:txBody>
          <a:bodyPr tIns="0" anchor="ctr"/>
          <a:lstStyle>
            <a:lvl1pPr>
              <a:defRPr sz="3200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10" y="2708920"/>
            <a:ext cx="9143492" cy="936104"/>
          </a:xfrm>
          <a:solidFill>
            <a:schemeClr val="accent3"/>
          </a:solidFill>
          <a:ln>
            <a:noFill/>
          </a:ln>
        </p:spPr>
        <p:txBody>
          <a:bodyPr vert="horz" wrap="square" lIns="252000" tIns="0" rIns="252000" bIns="72000" numCol="1" anchor="ctr" anchorCtr="0" compatLnSpc="1">
            <a:prstTxWarp prst="textNoShape">
              <a:avLst/>
            </a:prstTxWarp>
          </a:bodyPr>
          <a:lstStyle>
            <a:lvl1pPr>
              <a:buNone/>
              <a:defRPr lang="de-DE" sz="2400" dirty="0">
                <a:solidFill>
                  <a:schemeClr val="tx1"/>
                </a:solidFill>
                <a:latin typeface="Calibri" panose="020F0502020204030204" pitchFamily="34" charset="0"/>
              </a:defRPr>
            </a:lvl1pPr>
          </a:lstStyle>
          <a:p>
            <a:pPr marL="0" lvl="0" indent="0" defTabSz="536575">
              <a:spcBef>
                <a:spcPct val="0"/>
              </a:spcBef>
              <a:spcAft>
                <a:spcPct val="0"/>
              </a:spcAft>
            </a:pPr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5" name="Rectangle 10"/>
          <p:cNvSpPr>
            <a:spLocks noChangeArrowheads="1"/>
          </p:cNvSpPr>
          <p:nvPr userDrawn="1"/>
        </p:nvSpPr>
        <p:spPr bwMode="auto">
          <a:xfrm>
            <a:off x="4" y="2187060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de-DE" dirty="0"/>
          </a:p>
        </p:txBody>
      </p:sp>
      <p:sp>
        <p:nvSpPr>
          <p:cNvPr id="5" name="Rechteck 4"/>
          <p:cNvSpPr/>
          <p:nvPr userDrawn="1"/>
        </p:nvSpPr>
        <p:spPr bwMode="auto">
          <a:xfrm>
            <a:off x="-508" y="-9276"/>
            <a:ext cx="9144000" cy="954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266700" marR="0" indent="-26670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SzTx/>
              <a:buFont typeface="Arial" pitchFamily="34" charset="0"/>
              <a:buChar char="&gt;"/>
              <a:tabLst/>
            </a:pPr>
            <a:endParaRPr kumimoji="0" lang="de-DE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23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70806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idx="1"/>
          </p:nvPr>
        </p:nvSpPr>
        <p:spPr bwMode="gray">
          <a:xfrm>
            <a:off x="251520" y="1268761"/>
            <a:ext cx="8640960" cy="4824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6" name="Rectangle 2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2" y="8725"/>
            <a:ext cx="9144508" cy="936000"/>
          </a:xfrm>
          <a:prstGeom prst="rect">
            <a:avLst/>
          </a:prstGeom>
          <a:solidFill>
            <a:schemeClr val="accent1"/>
          </a:solidFill>
          <a:ln>
            <a:noFill/>
          </a:ln>
          <a:extLst/>
        </p:spPr>
        <p:txBody>
          <a:bodyPr vert="horz" wrap="square" lIns="252000" tIns="36000" rIns="252000" bIns="36000" numCol="1" anchor="t" anchorCtr="0" compatLnSpc="1">
            <a:prstTxWarp prst="textNoShape">
              <a:avLst/>
            </a:prstTxWarp>
          </a:bodyPr>
          <a:lstStyle>
            <a:lvl1pPr>
              <a:defRPr baseline="0"/>
            </a:lvl1pPr>
          </a:lstStyle>
          <a:p>
            <a:pPr lvl="0"/>
            <a:r>
              <a:rPr lang="de-DE" dirty="0" smtClean="0"/>
              <a:t>Titelmasterformat durch Klicken bearbeiten</a:t>
            </a:r>
            <a:br>
              <a:rPr lang="de-DE" dirty="0" smtClean="0"/>
            </a:br>
            <a:r>
              <a:rPr lang="de-DE" dirty="0" smtClean="0"/>
              <a:t>hier könnte eine zweite Zeile hin</a:t>
            </a:r>
          </a:p>
        </p:txBody>
      </p:sp>
    </p:spTree>
    <p:extLst>
      <p:ext uri="{BB962C8B-B14F-4D97-AF65-F5344CB8AC3E}">
        <p14:creationId xmlns:p14="http://schemas.microsoft.com/office/powerpoint/2010/main" val="33964351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51520" y="1268761"/>
            <a:ext cx="4248000" cy="4824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1"/>
          </p:nvPr>
        </p:nvSpPr>
        <p:spPr>
          <a:xfrm>
            <a:off x="4644008" y="1268761"/>
            <a:ext cx="4248472" cy="4824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" y="8725"/>
            <a:ext cx="9144508" cy="936000"/>
          </a:xfrm>
          <a:prstGeom prst="rect">
            <a:avLst/>
          </a:prstGeom>
          <a:solidFill>
            <a:schemeClr val="accent1"/>
          </a:solidFill>
          <a:ln>
            <a:noFill/>
          </a:ln>
          <a:extLst/>
        </p:spPr>
        <p:txBody>
          <a:bodyPr vert="horz" wrap="square" lIns="252000" tIns="36000" rIns="252000" bIns="3600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</a:lstStyle>
          <a:p>
            <a:pPr lvl="0"/>
            <a:r>
              <a:rPr lang="de-DE" smtClean="0"/>
              <a:t>Titelmasterformat durch Klicken bearbeiten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40232733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252812" y="5877296"/>
            <a:ext cx="8639671" cy="216000"/>
          </a:xfrm>
        </p:spPr>
        <p:txBody>
          <a:bodyPr anchor="ctr"/>
          <a:lstStyle>
            <a:lvl1pPr marL="0" indent="0">
              <a:buNone/>
              <a:tabLst>
                <a:tab pos="542925" algn="l"/>
              </a:tabLst>
              <a:defRPr sz="12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0" name="Rectangle 3"/>
          <p:cNvSpPr>
            <a:spLocks noGrp="1" noChangeArrowheads="1"/>
          </p:cNvSpPr>
          <p:nvPr>
            <p:ph idx="1"/>
          </p:nvPr>
        </p:nvSpPr>
        <p:spPr bwMode="gray">
          <a:xfrm>
            <a:off x="251520" y="1268761"/>
            <a:ext cx="8640960" cy="46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" y="8725"/>
            <a:ext cx="9144508" cy="936000"/>
          </a:xfrm>
          <a:prstGeom prst="rect">
            <a:avLst/>
          </a:prstGeom>
          <a:solidFill>
            <a:schemeClr val="accent1"/>
          </a:solidFill>
          <a:ln>
            <a:noFill/>
          </a:ln>
          <a:extLst/>
        </p:spPr>
        <p:txBody>
          <a:bodyPr vert="horz" wrap="square" lIns="252000" tIns="36000" rIns="252000" bIns="3600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</a:lstStyle>
          <a:p>
            <a:pPr lvl="0"/>
            <a:r>
              <a:rPr lang="de-DE" smtClean="0"/>
              <a:t>Titelmasterformat durch Klicken bearbeiten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4134111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2 columns +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51520" y="1268761"/>
            <a:ext cx="4248000" cy="4608512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6" name="Inhaltsplatzhalter 2"/>
          <p:cNvSpPr>
            <a:spLocks noGrp="1"/>
          </p:cNvSpPr>
          <p:nvPr>
            <p:ph idx="11"/>
          </p:nvPr>
        </p:nvSpPr>
        <p:spPr>
          <a:xfrm>
            <a:off x="4644008" y="1269273"/>
            <a:ext cx="4248000" cy="4608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Textplatzhalter 12"/>
          <p:cNvSpPr>
            <a:spLocks noGrp="1"/>
          </p:cNvSpPr>
          <p:nvPr>
            <p:ph type="body" sz="quarter" idx="13"/>
          </p:nvPr>
        </p:nvSpPr>
        <p:spPr>
          <a:xfrm>
            <a:off x="252813" y="5877296"/>
            <a:ext cx="4247183" cy="216000"/>
          </a:xfrm>
        </p:spPr>
        <p:txBody>
          <a:bodyPr anchor="ctr"/>
          <a:lstStyle>
            <a:lvl1pPr marL="0" indent="0">
              <a:buNone/>
              <a:tabLst>
                <a:tab pos="542925" algn="l"/>
              </a:tabLst>
              <a:defRPr sz="1200"/>
            </a:lvl1pPr>
          </a:lstStyle>
          <a:p>
            <a:pPr lvl="0"/>
            <a:r>
              <a:rPr lang="de-DE" dirty="0" smtClean="0"/>
              <a:t>Textmasterformat bearbeiten</a:t>
            </a:r>
          </a:p>
        </p:txBody>
      </p:sp>
      <p:sp>
        <p:nvSpPr>
          <p:cNvPr id="8" name="Textplatzhalter 12"/>
          <p:cNvSpPr>
            <a:spLocks noGrp="1"/>
          </p:cNvSpPr>
          <p:nvPr>
            <p:ph type="body" sz="quarter" idx="14"/>
          </p:nvPr>
        </p:nvSpPr>
        <p:spPr>
          <a:xfrm>
            <a:off x="4644013" y="5877272"/>
            <a:ext cx="4247183" cy="216000"/>
          </a:xfrm>
        </p:spPr>
        <p:txBody>
          <a:bodyPr anchor="ctr"/>
          <a:lstStyle>
            <a:lvl1pPr marL="0" indent="0">
              <a:buNone/>
              <a:tabLst>
                <a:tab pos="542925" algn="l"/>
              </a:tabLst>
              <a:defRPr sz="1200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9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" y="8725"/>
            <a:ext cx="9144508" cy="936000"/>
          </a:xfrm>
          <a:prstGeom prst="rect">
            <a:avLst/>
          </a:prstGeom>
          <a:solidFill>
            <a:schemeClr val="accent1"/>
          </a:solidFill>
          <a:ln>
            <a:noFill/>
          </a:ln>
          <a:extLst/>
        </p:spPr>
        <p:txBody>
          <a:bodyPr vert="horz" wrap="square" lIns="252000" tIns="36000" rIns="252000" bIns="3600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</a:lstStyle>
          <a:p>
            <a:pPr lvl="0"/>
            <a:r>
              <a:rPr lang="de-DE" smtClean="0"/>
              <a:t>Titelmasterformat durch Klicken bearbeiten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708116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" y="8725"/>
            <a:ext cx="9144508" cy="936000"/>
          </a:xfrm>
          <a:prstGeom prst="rect">
            <a:avLst/>
          </a:prstGeom>
          <a:solidFill>
            <a:schemeClr val="accent1"/>
          </a:solidFill>
          <a:ln>
            <a:noFill/>
          </a:ln>
          <a:extLst/>
        </p:spPr>
        <p:txBody>
          <a:bodyPr vert="horz" wrap="square" lIns="252000" tIns="36000" rIns="252000" bIns="3600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</a:lstStyle>
          <a:p>
            <a:pPr lvl="0"/>
            <a:r>
              <a:rPr lang="de-DE" smtClean="0"/>
              <a:t>Titelmasterformat durch Klicken bearbeiten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28710318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/>
          <p:cNvSpPr/>
          <p:nvPr userDrawn="1"/>
        </p:nvSpPr>
        <p:spPr bwMode="auto">
          <a:xfrm>
            <a:off x="-508" y="-9276"/>
            <a:ext cx="9144000" cy="954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266700" marR="0" indent="-26670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SzTx/>
              <a:buFont typeface="Arial" pitchFamily="34" charset="0"/>
              <a:buChar char="&gt;"/>
              <a:tabLst/>
            </a:pPr>
            <a:endParaRPr kumimoji="0" lang="de-DE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23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6826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2pPr marL="530225" indent="-261938">
              <a:buFont typeface="Arial" pitchFamily="34" charset="0"/>
              <a:buChar char="–"/>
              <a:defRPr/>
            </a:lvl2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11535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 bwMode="auto">
          <a:xfrm>
            <a:off x="-508" y="-9276"/>
            <a:ext cx="9144000" cy="9540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266700" marR="0" indent="-26670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SzTx/>
              <a:buFont typeface="Arial" pitchFamily="34" charset="0"/>
              <a:buChar char="&gt;"/>
              <a:tabLst/>
            </a:pPr>
            <a:endParaRPr kumimoji="0" lang="de-DE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</p:txBody>
      </p:sp>
      <p:grpSp>
        <p:nvGrpSpPr>
          <p:cNvPr id="4" name="Gruppieren 3"/>
          <p:cNvGrpSpPr/>
          <p:nvPr/>
        </p:nvGrpSpPr>
        <p:grpSpPr>
          <a:xfrm>
            <a:off x="4824030" y="6633356"/>
            <a:ext cx="4320020" cy="234000"/>
            <a:chOff x="4824028" y="6633356"/>
            <a:chExt cx="4320020" cy="234000"/>
          </a:xfrm>
        </p:grpSpPr>
        <p:sp>
          <p:nvSpPr>
            <p:cNvPr id="3" name="Ellipse 2"/>
            <p:cNvSpPr/>
            <p:nvPr userDrawn="1"/>
          </p:nvSpPr>
          <p:spPr bwMode="auto">
            <a:xfrm>
              <a:off x="4824028" y="6633356"/>
              <a:ext cx="360000" cy="234000"/>
            </a:xfrm>
            <a:custGeom>
              <a:avLst/>
              <a:gdLst>
                <a:gd name="connsiteX0" fmla="*/ 0 w 1440160"/>
                <a:gd name="connsiteY0" fmla="*/ 1080120 h 2160240"/>
                <a:gd name="connsiteX1" fmla="*/ 720080 w 1440160"/>
                <a:gd name="connsiteY1" fmla="*/ 0 h 2160240"/>
                <a:gd name="connsiteX2" fmla="*/ 1440160 w 1440160"/>
                <a:gd name="connsiteY2" fmla="*/ 1080120 h 2160240"/>
                <a:gd name="connsiteX3" fmla="*/ 720080 w 1440160"/>
                <a:gd name="connsiteY3" fmla="*/ 2160240 h 2160240"/>
                <a:gd name="connsiteX4" fmla="*/ 0 w 1440160"/>
                <a:gd name="connsiteY4" fmla="*/ 1080120 h 2160240"/>
                <a:gd name="connsiteX0" fmla="*/ 0 w 1440160"/>
                <a:gd name="connsiteY0" fmla="*/ 1080120 h 1080120"/>
                <a:gd name="connsiteX1" fmla="*/ 720080 w 1440160"/>
                <a:gd name="connsiteY1" fmla="*/ 0 h 1080120"/>
                <a:gd name="connsiteX2" fmla="*/ 1440160 w 1440160"/>
                <a:gd name="connsiteY2" fmla="*/ 1080120 h 1080120"/>
                <a:gd name="connsiteX3" fmla="*/ 0 w 1440160"/>
                <a:gd name="connsiteY3" fmla="*/ 1080120 h 1080120"/>
                <a:gd name="connsiteX0" fmla="*/ 0 w 1440160"/>
                <a:gd name="connsiteY0" fmla="*/ 1080120 h 1080120"/>
                <a:gd name="connsiteX1" fmla="*/ 720080 w 1440160"/>
                <a:gd name="connsiteY1" fmla="*/ 0 h 1080120"/>
                <a:gd name="connsiteX2" fmla="*/ 1440160 w 1440160"/>
                <a:gd name="connsiteY2" fmla="*/ 1080120 h 1080120"/>
                <a:gd name="connsiteX3" fmla="*/ 0 w 1440160"/>
                <a:gd name="connsiteY3" fmla="*/ 1080120 h 1080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40160" h="1080120">
                  <a:moveTo>
                    <a:pt x="0" y="1080120"/>
                  </a:moveTo>
                  <a:cubicBezTo>
                    <a:pt x="0" y="483586"/>
                    <a:pt x="322391" y="0"/>
                    <a:pt x="720080" y="0"/>
                  </a:cubicBezTo>
                  <a:cubicBezTo>
                    <a:pt x="1117769" y="0"/>
                    <a:pt x="1440160" y="483586"/>
                    <a:pt x="1440160" y="1080120"/>
                  </a:cubicBezTo>
                  <a:lnTo>
                    <a:pt x="0" y="1080120"/>
                  </a:lnTo>
                  <a:close/>
                </a:path>
              </a:pathLst>
            </a:cu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266700" marR="0" indent="-26670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100000"/>
                </a:spcAft>
                <a:buClr>
                  <a:schemeClr val="accent1"/>
                </a:buClr>
                <a:buSzTx/>
                <a:buFont typeface="Arial" pitchFamily="34" charset="0"/>
                <a:buChar char="&gt;"/>
                <a:tabLst/>
              </a:pPr>
              <a:endParaRPr kumimoji="0" lang="de-DE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2" name="Rechteck 1"/>
            <p:cNvSpPr/>
            <p:nvPr userDrawn="1"/>
          </p:nvSpPr>
          <p:spPr bwMode="auto">
            <a:xfrm>
              <a:off x="5004048" y="6633356"/>
              <a:ext cx="4140000" cy="234000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266700" marR="0" indent="-26670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100000"/>
                </a:spcAft>
                <a:buClr>
                  <a:schemeClr val="accent1"/>
                </a:buClr>
                <a:buSzTx/>
                <a:buFont typeface="Arial" pitchFamily="34" charset="0"/>
                <a:buChar char="&gt;"/>
                <a:tabLst/>
              </a:pPr>
              <a:endParaRPr kumimoji="0" lang="de-DE" sz="9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</a:endParaRPr>
            </a:p>
          </p:txBody>
        </p:sp>
      </p:grp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" y="8725"/>
            <a:ext cx="9144508" cy="936000"/>
          </a:xfrm>
          <a:prstGeom prst="rect">
            <a:avLst/>
          </a:prstGeom>
          <a:solidFill>
            <a:schemeClr val="accent1"/>
          </a:solidFill>
          <a:ln>
            <a:noFill/>
          </a:ln>
          <a:extLst/>
        </p:spPr>
        <p:txBody>
          <a:bodyPr vert="horz" wrap="square" lIns="252000" tIns="36000" rIns="252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251520" y="1268761"/>
            <a:ext cx="8640960" cy="4824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1029" name="Rectangle 9"/>
          <p:cNvSpPr>
            <a:spLocks noChangeArrowheads="1"/>
          </p:cNvSpPr>
          <p:nvPr/>
        </p:nvSpPr>
        <p:spPr bwMode="gray">
          <a:xfrm>
            <a:off x="8172400" y="6633356"/>
            <a:ext cx="720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numCol="1" anchor="ctr"/>
          <a:lstStyle/>
          <a:p>
            <a:pPr marL="0" indent="0" algn="r" defTabSz="361950">
              <a:tabLst/>
            </a:pPr>
            <a:r>
              <a:rPr lang="de-DE" sz="900" dirty="0" smtClean="0">
                <a:latin typeface="Calibri" panose="020F0502020204030204" pitchFamily="34" charset="0"/>
              </a:rPr>
              <a:t>SEITE</a:t>
            </a:r>
            <a:r>
              <a:rPr lang="de-DE" sz="900" baseline="0" dirty="0" smtClean="0">
                <a:latin typeface="Calibri" panose="020F0502020204030204" pitchFamily="34" charset="0"/>
              </a:rPr>
              <a:t> </a:t>
            </a:r>
            <a:fld id="{F8724E0F-6275-40DF-8C36-43ABD3E9E5EA}" type="slidenum">
              <a:rPr lang="de-DE" sz="900" smtClean="0">
                <a:latin typeface="Calibri" panose="020F0502020204030204" pitchFamily="34" charset="0"/>
              </a:rPr>
              <a:pPr marL="0" indent="0" algn="r" defTabSz="361950">
                <a:tabLst/>
              </a:pPr>
              <a:t>‹Nr.›</a:t>
            </a:fld>
            <a:endParaRPr lang="de-DE" sz="900" dirty="0">
              <a:latin typeface="Calibri" panose="020F0502020204030204" pitchFamily="34" charset="0"/>
            </a:endParaRPr>
          </a:p>
        </p:txBody>
      </p:sp>
      <p:pic>
        <p:nvPicPr>
          <p:cNvPr id="42" name="Grafik 41" descr="C:\Users\r889029\AppData\Local\Temp\7zEBB47.tmp\RWE_Logo_ProaktivesNetz_positiv.jpg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2" t="16264" r="3496" b="14306"/>
          <a:stretch/>
        </p:blipFill>
        <p:spPr bwMode="auto">
          <a:xfrm>
            <a:off x="215516" y="6309321"/>
            <a:ext cx="2520000" cy="503158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45" name="Picture 4"/>
          <p:cNvPicPr>
            <a:picLocks noChangeAspect="1" noChangeArrowheads="1"/>
          </p:cNvPicPr>
          <p:nvPr/>
        </p:nvPicPr>
        <p:blipFill rotWithShape="1">
          <a:blip r:embed="rId1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69" t="17795" r="5028" b="19555"/>
          <a:stretch/>
        </p:blipFill>
        <p:spPr bwMode="auto">
          <a:xfrm>
            <a:off x="2894811" y="6417333"/>
            <a:ext cx="1785203" cy="36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0" name="Rectangle 9"/>
          <p:cNvSpPr>
            <a:spLocks noChangeArrowheads="1"/>
          </p:cNvSpPr>
          <p:nvPr userDrawn="1"/>
        </p:nvSpPr>
        <p:spPr bwMode="gray">
          <a:xfrm>
            <a:off x="7452400" y="6633356"/>
            <a:ext cx="720000" cy="2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numCol="1" anchor="ctr"/>
          <a:lstStyle/>
          <a:p>
            <a:pPr marL="0" indent="0" algn="ctr" defTabSz="361950">
              <a:tabLst>
                <a:tab pos="1612900" algn="l"/>
                <a:tab pos="1793875" algn="l"/>
                <a:tab pos="1974850" algn="l"/>
              </a:tabLst>
            </a:pPr>
            <a:r>
              <a:rPr lang="de-DE" sz="900" dirty="0" smtClean="0">
                <a:latin typeface="Calibri" panose="020F0502020204030204" pitchFamily="34" charset="0"/>
              </a:rPr>
              <a:t>18</a:t>
            </a:r>
            <a:r>
              <a:rPr lang="de-DE" sz="900" baseline="0" dirty="0" smtClean="0">
                <a:latin typeface="Calibri" panose="020F0502020204030204" pitchFamily="34" charset="0"/>
              </a:rPr>
              <a:t> -19</a:t>
            </a:r>
            <a:r>
              <a:rPr lang="de-DE" sz="900" dirty="0" smtClean="0">
                <a:latin typeface="Calibri" panose="020F0502020204030204" pitchFamily="34" charset="0"/>
              </a:rPr>
              <a:t>.09.2017</a:t>
            </a:r>
          </a:p>
        </p:txBody>
      </p:sp>
      <p:sp>
        <p:nvSpPr>
          <p:cNvPr id="62" name="Rectangle 9"/>
          <p:cNvSpPr>
            <a:spLocks noChangeArrowheads="1"/>
          </p:cNvSpPr>
          <p:nvPr/>
        </p:nvSpPr>
        <p:spPr bwMode="gray">
          <a:xfrm>
            <a:off x="5004048" y="6642002"/>
            <a:ext cx="2448272" cy="2073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numCol="1" anchor="ctr"/>
          <a:lstStyle/>
          <a:p>
            <a:pPr marL="0" indent="0" algn="ctr" defTabSz="361950">
              <a:tabLst>
                <a:tab pos="1612900" algn="l"/>
                <a:tab pos="1793875" algn="l"/>
                <a:tab pos="1974850" algn="l"/>
              </a:tabLst>
            </a:pPr>
            <a:r>
              <a:rPr lang="de-DE" sz="900" baseline="0" dirty="0" smtClean="0">
                <a:latin typeface="Calibri" panose="020F0502020204030204" pitchFamily="34" charset="0"/>
              </a:rPr>
              <a:t>„Das proaktive Verteilnetz“ </a:t>
            </a:r>
            <a:endParaRPr lang="de-DE" sz="900" dirty="0">
              <a:latin typeface="Calibri" panose="020F05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269" r:id="rId1"/>
    <p:sldLayoutId id="2147484270" r:id="rId2"/>
    <p:sldLayoutId id="2147484271" r:id="rId3"/>
    <p:sldLayoutId id="2147484275" r:id="rId4"/>
    <p:sldLayoutId id="2147484285" r:id="rId5"/>
    <p:sldLayoutId id="2147484286" r:id="rId6"/>
    <p:sldLayoutId id="2147484282" r:id="rId7"/>
    <p:sldLayoutId id="2147484283" r:id="rId8"/>
    <p:sldLayoutId id="2147484287" r:id="rId9"/>
  </p:sldLayoutIdLst>
  <p:timing>
    <p:tnLst>
      <p:par>
        <p:cTn id="1" dur="indefinite" restart="never" nodeType="tmRoot"/>
      </p:par>
    </p:tnLst>
  </p:timing>
  <p:hf sldNum="0" hdr="0" ftr="0"/>
  <p:txStyles>
    <p:titleStyle>
      <a:lvl1pPr marL="0" indent="0" algn="l" defTabSz="536575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lang="de-DE" sz="3200" baseline="0" dirty="0" smtClean="0">
          <a:solidFill>
            <a:schemeClr val="bg1"/>
          </a:solidFill>
          <a:latin typeface="Calibri" panose="020F0502020204030204" pitchFamily="34" charset="0"/>
          <a:ea typeface="ＭＳ Ｐゴシック" pitchFamily="-111" charset="-128"/>
          <a:cs typeface="Calibri" panose="020F050202020403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23" charset="0"/>
          <a:ea typeface="ＭＳ Ｐゴシック" pitchFamily="-111" charset="-128"/>
          <a:cs typeface="ＭＳ Ｐゴシック" pitchFamily="-111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23" charset="0"/>
          <a:ea typeface="ＭＳ Ｐゴシック" pitchFamily="-111" charset="-128"/>
          <a:cs typeface="ＭＳ Ｐゴシック" pitchFamily="-111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23" charset="0"/>
          <a:ea typeface="ＭＳ Ｐゴシック" pitchFamily="-111" charset="-128"/>
          <a:cs typeface="ＭＳ Ｐゴシック" pitchFamily="-111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23" charset="0"/>
          <a:ea typeface="ＭＳ Ｐゴシック" pitchFamily="-111" charset="-128"/>
          <a:cs typeface="ＭＳ Ｐゴシック" pitchFamily="-111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2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2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2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000">
          <a:solidFill>
            <a:schemeClr val="accent1"/>
          </a:solidFill>
          <a:latin typeface="Arial" pitchFamily="23" charset="0"/>
        </a:defRPr>
      </a:lvl9pPr>
    </p:titleStyle>
    <p:bodyStyle>
      <a:lvl1pPr marL="173038" indent="-173038" algn="l" defTabSz="360363" rtl="0" eaLnBrk="1" fontAlgn="base" hangingPunct="1">
        <a:spcBef>
          <a:spcPts val="600"/>
        </a:spcBef>
        <a:spcAft>
          <a:spcPts val="600"/>
        </a:spcAft>
        <a:buClr>
          <a:schemeClr val="accent1"/>
        </a:buClr>
        <a:buFont typeface="Arial" charset="0"/>
        <a:buChar char="&gt;"/>
        <a:tabLst/>
        <a:defRPr sz="1800">
          <a:solidFill>
            <a:schemeClr val="tx1"/>
          </a:solidFill>
          <a:latin typeface="Calibri" panose="020F0502020204030204" pitchFamily="34" charset="0"/>
          <a:ea typeface="ＭＳ Ｐゴシック" pitchFamily="-111" charset="-128"/>
          <a:cs typeface="Calibri" panose="020F0502020204030204" pitchFamily="34" charset="0"/>
        </a:defRPr>
      </a:lvl1pPr>
      <a:lvl2pPr marL="360363" indent="-184150" algn="l" defTabSz="360363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charset="0"/>
        <a:buChar char="–"/>
        <a:tabLst/>
        <a:defRPr sz="1800">
          <a:solidFill>
            <a:schemeClr val="tx1"/>
          </a:solidFill>
          <a:latin typeface="Calibri" panose="020F0502020204030204" pitchFamily="34" charset="0"/>
          <a:ea typeface="ＭＳ Ｐゴシック" pitchFamily="23" charset="-128"/>
          <a:cs typeface="Calibri" panose="020F0502020204030204" pitchFamily="34" charset="0"/>
        </a:defRPr>
      </a:lvl2pPr>
      <a:lvl3pPr marL="536575" indent="-176213" algn="l" defTabSz="360363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charset="0"/>
        <a:buChar char="•"/>
        <a:tabLst/>
        <a:defRPr sz="1800">
          <a:solidFill>
            <a:schemeClr val="tx1"/>
          </a:solidFill>
          <a:latin typeface="Calibri" panose="020F0502020204030204" pitchFamily="34" charset="0"/>
          <a:ea typeface="ＭＳ Ｐゴシック" pitchFamily="23" charset="-128"/>
          <a:cs typeface="Calibri" panose="020F0502020204030204" pitchFamily="34" charset="0"/>
        </a:defRPr>
      </a:lvl3pPr>
      <a:lvl4pPr marL="720725" indent="-176213" algn="l" defTabSz="360363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charset="0"/>
        <a:buChar char="–"/>
        <a:tabLst/>
        <a:defRPr sz="1800">
          <a:solidFill>
            <a:schemeClr val="tx1"/>
          </a:solidFill>
          <a:latin typeface="Calibri" panose="020F0502020204030204" pitchFamily="34" charset="0"/>
          <a:ea typeface="ＭＳ Ｐゴシック" pitchFamily="23" charset="-128"/>
          <a:cs typeface="Calibri" panose="020F0502020204030204" pitchFamily="34" charset="0"/>
        </a:defRPr>
      </a:lvl4pPr>
      <a:lvl5pPr marL="896938" indent="-176213" algn="l" defTabSz="360363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800">
          <a:solidFill>
            <a:schemeClr val="tx1"/>
          </a:solidFill>
          <a:latin typeface="Calibri" panose="020F0502020204030204" pitchFamily="34" charset="0"/>
          <a:ea typeface="ＭＳ Ｐゴシック" pitchFamily="23" charset="-128"/>
          <a:cs typeface="Calibri" panose="020F0502020204030204" pitchFamily="34" charset="0"/>
        </a:defRPr>
      </a:lvl5pPr>
      <a:lvl6pPr marL="1797050" indent="-265113" algn="l" rtl="0" eaLnBrk="1" fontAlgn="base" hangingPunct="1">
        <a:spcBef>
          <a:spcPct val="0"/>
        </a:spcBef>
        <a:spcAft>
          <a:spcPct val="100000"/>
        </a:spcAft>
        <a:buClr>
          <a:schemeClr val="accent1"/>
        </a:buClr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  <a:ea typeface="ＭＳ Ｐゴシック" pitchFamily="23" charset="-128"/>
        </a:defRPr>
      </a:lvl6pPr>
      <a:lvl7pPr marL="2254250" indent="-265113" algn="l" rtl="0" eaLnBrk="1" fontAlgn="base" hangingPunct="1">
        <a:spcBef>
          <a:spcPct val="0"/>
        </a:spcBef>
        <a:spcAft>
          <a:spcPct val="100000"/>
        </a:spcAft>
        <a:buClr>
          <a:schemeClr val="accent1"/>
        </a:buClr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  <a:ea typeface="ＭＳ Ｐゴシック" pitchFamily="23" charset="-128"/>
        </a:defRPr>
      </a:lvl7pPr>
      <a:lvl8pPr marL="2711450" indent="-265113" algn="l" rtl="0" eaLnBrk="1" fontAlgn="base" hangingPunct="1">
        <a:spcBef>
          <a:spcPct val="0"/>
        </a:spcBef>
        <a:spcAft>
          <a:spcPct val="100000"/>
        </a:spcAft>
        <a:buClr>
          <a:schemeClr val="accent1"/>
        </a:buClr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  <a:ea typeface="ＭＳ Ｐゴシック" pitchFamily="23" charset="-128"/>
        </a:defRPr>
      </a:lvl8pPr>
      <a:lvl9pPr marL="3168650" indent="-265113" algn="l" rtl="0" eaLnBrk="1" fontAlgn="base" hangingPunct="1">
        <a:spcBef>
          <a:spcPct val="0"/>
        </a:spcBef>
        <a:spcAft>
          <a:spcPct val="100000"/>
        </a:spcAft>
        <a:buClr>
          <a:schemeClr val="accent1"/>
        </a:buClr>
        <a:buChar char="•"/>
        <a:tabLst>
          <a:tab pos="266700" algn="l"/>
          <a:tab pos="534988" algn="l"/>
          <a:tab pos="542925" algn="l"/>
          <a:tab pos="809625" algn="l"/>
          <a:tab pos="1076325" algn="l"/>
          <a:tab pos="1343025" algn="l"/>
        </a:tabLst>
        <a:defRPr sz="2000">
          <a:solidFill>
            <a:schemeClr val="tx1"/>
          </a:solidFill>
          <a:latin typeface="+mn-lt"/>
          <a:ea typeface="ＭＳ Ｐゴシック" pitchFamily="23" charset="-128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26" Type="http://schemas.openxmlformats.org/officeDocument/2006/relationships/tags" Target="../tags/tag27.xml"/><Relationship Id="rId39" Type="http://schemas.openxmlformats.org/officeDocument/2006/relationships/tags" Target="../tags/tag40.xml"/><Relationship Id="rId21" Type="http://schemas.openxmlformats.org/officeDocument/2006/relationships/tags" Target="../tags/tag22.xml"/><Relationship Id="rId34" Type="http://schemas.openxmlformats.org/officeDocument/2006/relationships/tags" Target="../tags/tag35.xml"/><Relationship Id="rId42" Type="http://schemas.openxmlformats.org/officeDocument/2006/relationships/tags" Target="../tags/tag43.xml"/><Relationship Id="rId47" Type="http://schemas.openxmlformats.org/officeDocument/2006/relationships/tags" Target="../tags/tag48.xml"/><Relationship Id="rId50" Type="http://schemas.openxmlformats.org/officeDocument/2006/relationships/tags" Target="../tags/tag51.xml"/><Relationship Id="rId55" Type="http://schemas.openxmlformats.org/officeDocument/2006/relationships/tags" Target="../tags/tag56.xml"/><Relationship Id="rId63" Type="http://schemas.openxmlformats.org/officeDocument/2006/relationships/tags" Target="../tags/tag64.xml"/><Relationship Id="rId68" Type="http://schemas.openxmlformats.org/officeDocument/2006/relationships/tags" Target="../tags/tag69.xml"/><Relationship Id="rId76" Type="http://schemas.openxmlformats.org/officeDocument/2006/relationships/tags" Target="../tags/tag77.xml"/><Relationship Id="rId7" Type="http://schemas.openxmlformats.org/officeDocument/2006/relationships/tags" Target="../tags/tag8.xml"/><Relationship Id="rId71" Type="http://schemas.openxmlformats.org/officeDocument/2006/relationships/tags" Target="../tags/tag72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9" Type="http://schemas.openxmlformats.org/officeDocument/2006/relationships/tags" Target="../tags/tag30.xml"/><Relationship Id="rId11" Type="http://schemas.openxmlformats.org/officeDocument/2006/relationships/tags" Target="../tags/tag12.xml"/><Relationship Id="rId24" Type="http://schemas.openxmlformats.org/officeDocument/2006/relationships/tags" Target="../tags/tag25.xml"/><Relationship Id="rId32" Type="http://schemas.openxmlformats.org/officeDocument/2006/relationships/tags" Target="../tags/tag33.xml"/><Relationship Id="rId37" Type="http://schemas.openxmlformats.org/officeDocument/2006/relationships/tags" Target="../tags/tag38.xml"/><Relationship Id="rId40" Type="http://schemas.openxmlformats.org/officeDocument/2006/relationships/tags" Target="../tags/tag41.xml"/><Relationship Id="rId45" Type="http://schemas.openxmlformats.org/officeDocument/2006/relationships/tags" Target="../tags/tag46.xml"/><Relationship Id="rId53" Type="http://schemas.openxmlformats.org/officeDocument/2006/relationships/tags" Target="../tags/tag54.xml"/><Relationship Id="rId58" Type="http://schemas.openxmlformats.org/officeDocument/2006/relationships/tags" Target="../tags/tag59.xml"/><Relationship Id="rId66" Type="http://schemas.openxmlformats.org/officeDocument/2006/relationships/tags" Target="../tags/tag67.xml"/><Relationship Id="rId74" Type="http://schemas.openxmlformats.org/officeDocument/2006/relationships/tags" Target="../tags/tag75.xml"/><Relationship Id="rId79" Type="http://schemas.openxmlformats.org/officeDocument/2006/relationships/tags" Target="../tags/tag80.xml"/><Relationship Id="rId5" Type="http://schemas.openxmlformats.org/officeDocument/2006/relationships/tags" Target="../tags/tag6.xml"/><Relationship Id="rId61" Type="http://schemas.openxmlformats.org/officeDocument/2006/relationships/tags" Target="../tags/tag62.xml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31" Type="http://schemas.openxmlformats.org/officeDocument/2006/relationships/tags" Target="../tags/tag32.xml"/><Relationship Id="rId44" Type="http://schemas.openxmlformats.org/officeDocument/2006/relationships/tags" Target="../tags/tag45.xml"/><Relationship Id="rId52" Type="http://schemas.openxmlformats.org/officeDocument/2006/relationships/tags" Target="../tags/tag53.xml"/><Relationship Id="rId60" Type="http://schemas.openxmlformats.org/officeDocument/2006/relationships/tags" Target="../tags/tag61.xml"/><Relationship Id="rId65" Type="http://schemas.openxmlformats.org/officeDocument/2006/relationships/tags" Target="../tags/tag66.xml"/><Relationship Id="rId73" Type="http://schemas.openxmlformats.org/officeDocument/2006/relationships/tags" Target="../tags/tag74.xml"/><Relationship Id="rId78" Type="http://schemas.openxmlformats.org/officeDocument/2006/relationships/tags" Target="../tags/tag79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Relationship Id="rId27" Type="http://schemas.openxmlformats.org/officeDocument/2006/relationships/tags" Target="../tags/tag28.xml"/><Relationship Id="rId30" Type="http://schemas.openxmlformats.org/officeDocument/2006/relationships/tags" Target="../tags/tag31.xml"/><Relationship Id="rId35" Type="http://schemas.openxmlformats.org/officeDocument/2006/relationships/tags" Target="../tags/tag36.xml"/><Relationship Id="rId43" Type="http://schemas.openxmlformats.org/officeDocument/2006/relationships/tags" Target="../tags/tag44.xml"/><Relationship Id="rId48" Type="http://schemas.openxmlformats.org/officeDocument/2006/relationships/tags" Target="../tags/tag49.xml"/><Relationship Id="rId56" Type="http://schemas.openxmlformats.org/officeDocument/2006/relationships/tags" Target="../tags/tag57.xml"/><Relationship Id="rId64" Type="http://schemas.openxmlformats.org/officeDocument/2006/relationships/tags" Target="../tags/tag65.xml"/><Relationship Id="rId69" Type="http://schemas.openxmlformats.org/officeDocument/2006/relationships/tags" Target="../tags/tag70.xml"/><Relationship Id="rId77" Type="http://schemas.openxmlformats.org/officeDocument/2006/relationships/tags" Target="../tags/tag78.xml"/><Relationship Id="rId8" Type="http://schemas.openxmlformats.org/officeDocument/2006/relationships/tags" Target="../tags/tag9.xml"/><Relationship Id="rId51" Type="http://schemas.openxmlformats.org/officeDocument/2006/relationships/tags" Target="../tags/tag52.xml"/><Relationship Id="rId72" Type="http://schemas.openxmlformats.org/officeDocument/2006/relationships/tags" Target="../tags/tag73.xml"/><Relationship Id="rId80" Type="http://schemas.openxmlformats.org/officeDocument/2006/relationships/slideLayout" Target="../slideLayouts/slideLayout9.xml"/><Relationship Id="rId3" Type="http://schemas.openxmlformats.org/officeDocument/2006/relationships/tags" Target="../tags/tag4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5" Type="http://schemas.openxmlformats.org/officeDocument/2006/relationships/tags" Target="../tags/tag26.xml"/><Relationship Id="rId33" Type="http://schemas.openxmlformats.org/officeDocument/2006/relationships/tags" Target="../tags/tag34.xml"/><Relationship Id="rId38" Type="http://schemas.openxmlformats.org/officeDocument/2006/relationships/tags" Target="../tags/tag39.xml"/><Relationship Id="rId46" Type="http://schemas.openxmlformats.org/officeDocument/2006/relationships/tags" Target="../tags/tag47.xml"/><Relationship Id="rId59" Type="http://schemas.openxmlformats.org/officeDocument/2006/relationships/tags" Target="../tags/tag60.xml"/><Relationship Id="rId67" Type="http://schemas.openxmlformats.org/officeDocument/2006/relationships/tags" Target="../tags/tag68.xml"/><Relationship Id="rId20" Type="http://schemas.openxmlformats.org/officeDocument/2006/relationships/tags" Target="../tags/tag21.xml"/><Relationship Id="rId41" Type="http://schemas.openxmlformats.org/officeDocument/2006/relationships/tags" Target="../tags/tag42.xml"/><Relationship Id="rId54" Type="http://schemas.openxmlformats.org/officeDocument/2006/relationships/tags" Target="../tags/tag55.xml"/><Relationship Id="rId62" Type="http://schemas.openxmlformats.org/officeDocument/2006/relationships/tags" Target="../tags/tag63.xml"/><Relationship Id="rId70" Type="http://schemas.openxmlformats.org/officeDocument/2006/relationships/tags" Target="../tags/tag71.xml"/><Relationship Id="rId75" Type="http://schemas.openxmlformats.org/officeDocument/2006/relationships/tags" Target="../tags/tag76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5" Type="http://schemas.openxmlformats.org/officeDocument/2006/relationships/tags" Target="../tags/tag16.xml"/><Relationship Id="rId23" Type="http://schemas.openxmlformats.org/officeDocument/2006/relationships/tags" Target="../tags/tag24.xml"/><Relationship Id="rId28" Type="http://schemas.openxmlformats.org/officeDocument/2006/relationships/tags" Target="../tags/tag29.xml"/><Relationship Id="rId36" Type="http://schemas.openxmlformats.org/officeDocument/2006/relationships/tags" Target="../tags/tag37.xml"/><Relationship Id="rId49" Type="http://schemas.openxmlformats.org/officeDocument/2006/relationships/tags" Target="../tags/tag50.xml"/><Relationship Id="rId57" Type="http://schemas.openxmlformats.org/officeDocument/2006/relationships/tags" Target="../tags/tag5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Relationship Id="rId4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el 1"/>
          <p:cNvSpPr>
            <a:spLocks noGrp="1"/>
          </p:cNvSpPr>
          <p:nvPr>
            <p:ph type="ctrTitle"/>
          </p:nvPr>
        </p:nvSpPr>
        <p:spPr>
          <a:xfrm>
            <a:off x="-508" y="1772920"/>
            <a:ext cx="9144000" cy="936000"/>
          </a:xfrm>
          <a:solidFill>
            <a:schemeClr val="accent1"/>
          </a:solidFill>
          <a:ln>
            <a:noFill/>
          </a:ln>
        </p:spPr>
        <p:txBody>
          <a:bodyPr lIns="252000" tIns="72000" rIns="252000" bIns="72000"/>
          <a:lstStyle/>
          <a:p>
            <a:r>
              <a:rPr lang="de-DE" b="1" dirty="0"/>
              <a:t>Proaktives </a:t>
            </a:r>
            <a:r>
              <a:rPr lang="de-DE" b="1" dirty="0" smtClean="0"/>
              <a:t>Verteilnetz - </a:t>
            </a:r>
            <a:r>
              <a:rPr lang="de-DE" b="1" dirty="0" err="1" smtClean="0"/>
              <a:t>Proactive</a:t>
            </a:r>
            <a:r>
              <a:rPr lang="de-DE" b="1" dirty="0" smtClean="0"/>
              <a:t> Distribution Grid</a:t>
            </a:r>
            <a:endParaRPr lang="de-DE" dirty="0" smtClean="0">
              <a:solidFill>
                <a:schemeClr val="bg1"/>
              </a:solidFill>
              <a:ea typeface="ＭＳ Ｐゴシック" pitchFamily="34" charset="-128"/>
            </a:endParaRPr>
          </a:p>
        </p:txBody>
      </p:sp>
      <p:sp>
        <p:nvSpPr>
          <p:cNvPr id="18435" name="Untertitel 2"/>
          <p:cNvSpPr>
            <a:spLocks noGrp="1"/>
          </p:cNvSpPr>
          <p:nvPr>
            <p:ph type="subTitle" idx="1"/>
          </p:nvPr>
        </p:nvSpPr>
        <p:spPr>
          <a:xfrm>
            <a:off x="0" y="2708920"/>
            <a:ext cx="9144000" cy="936104"/>
          </a:xfrm>
          <a:solidFill>
            <a:schemeClr val="accent3"/>
          </a:solidFill>
        </p:spPr>
        <p:txBody>
          <a:bodyPr lIns="252000" tIns="72000" rIns="252000" bIns="72000"/>
          <a:lstStyle/>
          <a:p>
            <a:pPr marL="0" indent="0">
              <a:spcBef>
                <a:spcPts val="0"/>
              </a:spcBef>
              <a:spcAft>
                <a:spcPts val="0"/>
              </a:spcAft>
            </a:pPr>
            <a:r>
              <a:rPr lang="en-US" sz="2000" dirty="0" smtClean="0">
                <a:ea typeface="ＭＳ Ｐゴシック" pitchFamily="34" charset="-128"/>
              </a:rPr>
              <a:t>ETIP </a:t>
            </a:r>
            <a:r>
              <a:rPr lang="en-US" sz="2000" dirty="0">
                <a:ea typeface="ＭＳ Ｐゴシック" pitchFamily="34" charset="-128"/>
              </a:rPr>
              <a:t>SNET </a:t>
            </a:r>
            <a:r>
              <a:rPr lang="en-US" sz="2000" dirty="0" smtClean="0">
                <a:ea typeface="ＭＳ Ｐゴシック" pitchFamily="34" charset="-128"/>
              </a:rPr>
              <a:t>Workshop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ea typeface="ＭＳ Ｐゴシック" pitchFamily="34" charset="-128"/>
              </a:rPr>
              <a:t>A</a:t>
            </a:r>
            <a:r>
              <a:rPr lang="en-US" sz="2000" dirty="0" smtClean="0">
                <a:ea typeface="ＭＳ Ｐゴシック" pitchFamily="34" charset="-128"/>
              </a:rPr>
              <a:t>achen</a:t>
            </a:r>
            <a:r>
              <a:rPr lang="en-US" sz="2000" dirty="0">
                <a:ea typeface="ＭＳ Ｐゴシック" pitchFamily="34" charset="-128"/>
              </a:rPr>
              <a:t>, September 18-19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:\Users\r889029\AppData\Local\Microsoft\Windows\Temporary Internet Files\Content.IE5\H1NLTE27\passe-compose-ou-imparfait-grammaire-bdf-19[1]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70" b="4167"/>
          <a:stretch/>
        </p:blipFill>
        <p:spPr bwMode="auto">
          <a:xfrm>
            <a:off x="2772200" y="1555249"/>
            <a:ext cx="3600000" cy="2161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18702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71463" indent="-271463">
              <a:lnSpc>
                <a:spcPts val="2200"/>
              </a:lnSpc>
              <a:buFont typeface="Wingdings" panose="05000000000000000000" pitchFamily="2" charset="2"/>
              <a:buChar char="ü"/>
              <a:defRPr/>
            </a:pPr>
            <a:r>
              <a:rPr lang="de-DE" kern="1200" dirty="0" err="1">
                <a:ea typeface="ＭＳ Ｐゴシック" pitchFamily="34" charset="-128"/>
                <a:cs typeface="+mn-cs"/>
              </a:rPr>
              <a:t>There</a:t>
            </a:r>
            <a:r>
              <a:rPr lang="de-DE" kern="1200" dirty="0">
                <a:ea typeface="ＭＳ Ｐゴシック" pitchFamily="34" charset="-128"/>
                <a:cs typeface="+mn-cs"/>
              </a:rPr>
              <a:t> </a:t>
            </a:r>
            <a:r>
              <a:rPr lang="de-DE" kern="1200" dirty="0" err="1">
                <a:ea typeface="ＭＳ Ｐゴシック" pitchFamily="34" charset="-128"/>
                <a:cs typeface="+mn-cs"/>
              </a:rPr>
              <a:t>is</a:t>
            </a:r>
            <a:r>
              <a:rPr lang="de-DE" kern="1200" dirty="0">
                <a:ea typeface="ＭＳ Ｐゴシック" pitchFamily="34" charset="-128"/>
                <a:cs typeface="+mn-cs"/>
              </a:rPr>
              <a:t> a global </a:t>
            </a:r>
            <a:r>
              <a:rPr lang="de-DE" kern="1200" dirty="0" err="1">
                <a:ea typeface="ＭＳ Ｐゴシック" pitchFamily="34" charset="-128"/>
                <a:cs typeface="+mn-cs"/>
              </a:rPr>
              <a:t>trend</a:t>
            </a:r>
            <a:r>
              <a:rPr lang="de-DE" kern="1200" dirty="0">
                <a:ea typeface="ＭＳ Ｐゴシック" pitchFamily="34" charset="-128"/>
                <a:cs typeface="+mn-cs"/>
              </a:rPr>
              <a:t> for DER, Germany </a:t>
            </a:r>
            <a:r>
              <a:rPr lang="de-DE" kern="1200" dirty="0" err="1">
                <a:ea typeface="ＭＳ Ｐゴシック" pitchFamily="34" charset="-128"/>
                <a:cs typeface="+mn-cs"/>
              </a:rPr>
              <a:t>is</a:t>
            </a:r>
            <a:r>
              <a:rPr lang="de-DE" kern="1200" dirty="0">
                <a:ea typeface="ＭＳ Ｐゴシック" pitchFamily="34" charset="-128"/>
                <a:cs typeface="+mn-cs"/>
              </a:rPr>
              <a:t> </a:t>
            </a:r>
            <a:r>
              <a:rPr lang="de-DE" kern="1200" dirty="0" err="1">
                <a:ea typeface="ＭＳ Ｐゴシック" pitchFamily="34" charset="-128"/>
                <a:cs typeface="+mn-cs"/>
              </a:rPr>
              <a:t>one</a:t>
            </a:r>
            <a:r>
              <a:rPr lang="de-DE" kern="1200" dirty="0">
                <a:ea typeface="ＭＳ Ｐゴシック" pitchFamily="34" charset="-128"/>
                <a:cs typeface="+mn-cs"/>
              </a:rPr>
              <a:t> of the </a:t>
            </a:r>
            <a:r>
              <a:rPr lang="de-DE" kern="1200" dirty="0" err="1">
                <a:ea typeface="ＭＳ Ｐゴシック" pitchFamily="34" charset="-128"/>
                <a:cs typeface="+mn-cs"/>
              </a:rPr>
              <a:t>main</a:t>
            </a:r>
            <a:r>
              <a:rPr lang="de-DE" kern="1200" dirty="0">
                <a:ea typeface="ＭＳ Ｐゴシック" pitchFamily="34" charset="-128"/>
                <a:cs typeface="+mn-cs"/>
              </a:rPr>
              <a:t> </a:t>
            </a:r>
            <a:r>
              <a:rPr lang="de-DE" kern="1200" dirty="0" err="1">
                <a:ea typeface="ＭＳ Ｐゴシック" pitchFamily="34" charset="-128"/>
                <a:cs typeface="+mn-cs"/>
              </a:rPr>
              <a:t>applications</a:t>
            </a:r>
            <a:endParaRPr lang="de-DE" kern="1200" dirty="0">
              <a:ea typeface="ＭＳ Ｐゴシック" pitchFamily="34" charset="-128"/>
              <a:cs typeface="+mn-cs"/>
            </a:endParaRPr>
          </a:p>
          <a:p>
            <a:pPr marL="271463" indent="-271463">
              <a:lnSpc>
                <a:spcPts val="2200"/>
              </a:lnSpc>
              <a:buFont typeface="Wingdings" panose="05000000000000000000" pitchFamily="2" charset="2"/>
              <a:buChar char="ü"/>
              <a:defRPr/>
            </a:pPr>
            <a:r>
              <a:rPr lang="de-DE" kern="1200" dirty="0">
                <a:ea typeface="ＭＳ Ｐゴシック" pitchFamily="34" charset="-128"/>
                <a:cs typeface="+mn-cs"/>
              </a:rPr>
              <a:t>One of the </a:t>
            </a:r>
            <a:r>
              <a:rPr lang="de-DE" kern="1200" dirty="0" err="1">
                <a:ea typeface="ＭＳ Ｐゴシック" pitchFamily="34" charset="-128"/>
                <a:cs typeface="+mn-cs"/>
              </a:rPr>
              <a:t>key</a:t>
            </a:r>
            <a:r>
              <a:rPr lang="de-DE" kern="1200" dirty="0">
                <a:ea typeface="ＭＳ Ｐゴシック" pitchFamily="34" charset="-128"/>
                <a:cs typeface="+mn-cs"/>
              </a:rPr>
              <a:t> </a:t>
            </a:r>
            <a:r>
              <a:rPr lang="de-DE" kern="1200" dirty="0" err="1">
                <a:ea typeface="ＭＳ Ｐゴシック" pitchFamily="34" charset="-128"/>
                <a:cs typeface="+mn-cs"/>
              </a:rPr>
              <a:t>attributes</a:t>
            </a:r>
            <a:r>
              <a:rPr lang="de-DE" kern="1200" dirty="0">
                <a:ea typeface="ＭＳ Ｐゴシック" pitchFamily="34" charset="-128"/>
                <a:cs typeface="+mn-cs"/>
              </a:rPr>
              <a:t> of DER-generation </a:t>
            </a:r>
            <a:r>
              <a:rPr lang="de-DE" kern="1200" dirty="0" err="1">
                <a:ea typeface="ＭＳ Ｐゴシック" pitchFamily="34" charset="-128"/>
                <a:cs typeface="+mn-cs"/>
              </a:rPr>
              <a:t>is</a:t>
            </a:r>
            <a:r>
              <a:rPr lang="de-DE" kern="1200" dirty="0">
                <a:ea typeface="ＭＳ Ｐゴシック" pitchFamily="34" charset="-128"/>
                <a:cs typeface="+mn-cs"/>
              </a:rPr>
              <a:t> </a:t>
            </a:r>
            <a:r>
              <a:rPr lang="de-DE" kern="1200" dirty="0" err="1">
                <a:ea typeface="ＭＳ Ｐゴシック" pitchFamily="34" charset="-128"/>
                <a:cs typeface="+mn-cs"/>
              </a:rPr>
              <a:t>its</a:t>
            </a:r>
            <a:r>
              <a:rPr lang="de-DE" kern="1200" dirty="0">
                <a:ea typeface="ＭＳ Ｐゴシック" pitchFamily="34" charset="-128"/>
                <a:cs typeface="+mn-cs"/>
              </a:rPr>
              <a:t> </a:t>
            </a:r>
            <a:r>
              <a:rPr lang="de-DE" kern="1200" dirty="0" err="1">
                <a:ea typeface="ＭＳ Ｐゴシック" pitchFamily="34" charset="-128"/>
                <a:cs typeface="+mn-cs"/>
              </a:rPr>
              <a:t>volatility</a:t>
            </a:r>
            <a:endParaRPr lang="de-DE" kern="1200" dirty="0">
              <a:ea typeface="ＭＳ Ｐゴシック" pitchFamily="34" charset="-128"/>
              <a:cs typeface="+mn-cs"/>
            </a:endParaRPr>
          </a:p>
          <a:p>
            <a:pPr marL="271463" indent="-271463">
              <a:lnSpc>
                <a:spcPts val="2200"/>
              </a:lnSpc>
              <a:buFont typeface="Wingdings" panose="05000000000000000000" pitchFamily="2" charset="2"/>
              <a:buChar char="ü"/>
              <a:defRPr/>
            </a:pPr>
            <a:r>
              <a:rPr lang="de-DE" kern="1200" dirty="0" err="1">
                <a:ea typeface="ＭＳ Ｐゴシック" pitchFamily="34" charset="-128"/>
                <a:cs typeface="+mn-cs"/>
              </a:rPr>
              <a:t>There</a:t>
            </a:r>
            <a:r>
              <a:rPr lang="de-DE" kern="1200" dirty="0">
                <a:ea typeface="ＭＳ Ｐゴシック" pitchFamily="34" charset="-128"/>
                <a:cs typeface="+mn-cs"/>
              </a:rPr>
              <a:t> </a:t>
            </a:r>
            <a:r>
              <a:rPr lang="de-DE" kern="1200" dirty="0" err="1">
                <a:ea typeface="ＭＳ Ｐゴシック" pitchFamily="34" charset="-128"/>
                <a:cs typeface="+mn-cs"/>
              </a:rPr>
              <a:t>is</a:t>
            </a:r>
            <a:r>
              <a:rPr lang="de-DE" kern="1200" dirty="0">
                <a:ea typeface="ＭＳ Ｐゴシック" pitchFamily="34" charset="-128"/>
                <a:cs typeface="+mn-cs"/>
              </a:rPr>
              <a:t> also a </a:t>
            </a:r>
            <a:r>
              <a:rPr lang="de-DE" kern="1200" dirty="0" err="1">
                <a:ea typeface="ＭＳ Ｐゴシック" pitchFamily="34" charset="-128"/>
                <a:cs typeface="+mn-cs"/>
              </a:rPr>
              <a:t>trend</a:t>
            </a:r>
            <a:r>
              <a:rPr lang="de-DE" kern="1200" dirty="0">
                <a:ea typeface="ＭＳ Ｐゴシック" pitchFamily="34" charset="-128"/>
                <a:cs typeface="+mn-cs"/>
              </a:rPr>
              <a:t> for </a:t>
            </a:r>
            <a:r>
              <a:rPr lang="de-DE" kern="1200" dirty="0" err="1">
                <a:ea typeface="ＭＳ Ｐゴシック" pitchFamily="34" charset="-128"/>
                <a:cs typeface="+mn-cs"/>
              </a:rPr>
              <a:t>increasing</a:t>
            </a:r>
            <a:r>
              <a:rPr lang="de-DE" kern="1200" dirty="0">
                <a:ea typeface="ＭＳ Ｐゴシック" pitchFamily="34" charset="-128"/>
                <a:cs typeface="+mn-cs"/>
              </a:rPr>
              <a:t> </a:t>
            </a:r>
            <a:r>
              <a:rPr lang="de-DE" kern="1200" dirty="0" err="1">
                <a:ea typeface="ＭＳ Ｐゴシック" pitchFamily="34" charset="-128"/>
                <a:cs typeface="+mn-cs"/>
              </a:rPr>
              <a:t>flexibility</a:t>
            </a:r>
            <a:r>
              <a:rPr lang="de-DE" kern="1200" dirty="0">
                <a:ea typeface="ＭＳ Ｐゴシック" pitchFamily="34" charset="-128"/>
                <a:cs typeface="+mn-cs"/>
              </a:rPr>
              <a:t> and </a:t>
            </a:r>
            <a:r>
              <a:rPr lang="de-DE" kern="1200" dirty="0" err="1">
                <a:ea typeface="ＭＳ Ｐゴシック" pitchFamily="34" charset="-128"/>
                <a:cs typeface="+mn-cs"/>
              </a:rPr>
              <a:t>demand</a:t>
            </a:r>
            <a:r>
              <a:rPr lang="de-DE" kern="1200" dirty="0">
                <a:ea typeface="ＭＳ Ｐゴシック" pitchFamily="34" charset="-128"/>
                <a:cs typeface="+mn-cs"/>
              </a:rPr>
              <a:t> on the </a:t>
            </a:r>
            <a:r>
              <a:rPr lang="de-DE" kern="1200" dirty="0" err="1">
                <a:ea typeface="ＭＳ Ｐゴシック" pitchFamily="34" charset="-128"/>
                <a:cs typeface="+mn-cs"/>
              </a:rPr>
              <a:t>demand</a:t>
            </a:r>
            <a:r>
              <a:rPr lang="de-DE" kern="1200" dirty="0">
                <a:ea typeface="ＭＳ Ｐゴシック" pitchFamily="34" charset="-128"/>
                <a:cs typeface="+mn-cs"/>
              </a:rPr>
              <a:t> side</a:t>
            </a:r>
          </a:p>
          <a:p>
            <a:pPr marL="271463" indent="-271463">
              <a:lnSpc>
                <a:spcPts val="2200"/>
              </a:lnSpc>
              <a:buFont typeface="Wingdings" panose="05000000000000000000" pitchFamily="2" charset="2"/>
              <a:buChar char="ü"/>
              <a:defRPr/>
            </a:pPr>
            <a:r>
              <a:rPr lang="de-DE" kern="1200" dirty="0">
                <a:ea typeface="ＭＳ Ｐゴシック" pitchFamily="34" charset="-128"/>
                <a:cs typeface="+mn-cs"/>
              </a:rPr>
              <a:t>The </a:t>
            </a:r>
            <a:r>
              <a:rPr lang="de-DE" kern="1200" dirty="0" err="1">
                <a:ea typeface="ＭＳ Ｐゴシック" pitchFamily="34" charset="-128"/>
                <a:cs typeface="+mn-cs"/>
              </a:rPr>
              <a:t>usage</a:t>
            </a:r>
            <a:r>
              <a:rPr lang="de-DE" kern="1200" dirty="0">
                <a:ea typeface="ＭＳ Ｐゴシック" pitchFamily="34" charset="-128"/>
                <a:cs typeface="+mn-cs"/>
              </a:rPr>
              <a:t> of </a:t>
            </a:r>
            <a:r>
              <a:rPr lang="de-DE" kern="1200" dirty="0" err="1">
                <a:ea typeface="ＭＳ Ｐゴシック" pitchFamily="34" charset="-128"/>
                <a:cs typeface="+mn-cs"/>
              </a:rPr>
              <a:t>flexibility</a:t>
            </a:r>
            <a:r>
              <a:rPr lang="de-DE" kern="1200" dirty="0">
                <a:ea typeface="ＭＳ Ｐゴシック" pitchFamily="34" charset="-128"/>
                <a:cs typeface="+mn-cs"/>
              </a:rPr>
              <a:t> in </a:t>
            </a:r>
            <a:r>
              <a:rPr lang="de-DE" kern="1200" dirty="0" err="1">
                <a:ea typeface="ＭＳ Ｐゴシック" pitchFamily="34" charset="-128"/>
                <a:cs typeface="+mn-cs"/>
              </a:rPr>
              <a:t>supply&amp;demand</a:t>
            </a:r>
            <a:r>
              <a:rPr lang="de-DE" kern="1200" dirty="0">
                <a:ea typeface="ＭＳ Ｐゴシック" pitchFamily="34" charset="-128"/>
                <a:cs typeface="+mn-cs"/>
              </a:rPr>
              <a:t> in distribution grids </a:t>
            </a:r>
            <a:r>
              <a:rPr lang="de-DE" kern="1200" dirty="0" err="1">
                <a:ea typeface="ＭＳ Ｐゴシック" pitchFamily="34" charset="-128"/>
                <a:cs typeface="+mn-cs"/>
              </a:rPr>
              <a:t>is</a:t>
            </a:r>
            <a:r>
              <a:rPr lang="de-DE" kern="1200" dirty="0">
                <a:ea typeface="ＭＳ Ｐゴシック" pitchFamily="34" charset="-128"/>
                <a:cs typeface="+mn-cs"/>
              </a:rPr>
              <a:t> </a:t>
            </a:r>
            <a:r>
              <a:rPr lang="de-DE" kern="1200" dirty="0" err="1">
                <a:ea typeface="ＭＳ Ｐゴシック" pitchFamily="34" charset="-128"/>
                <a:cs typeface="+mn-cs"/>
              </a:rPr>
              <a:t>necessary</a:t>
            </a:r>
            <a:r>
              <a:rPr lang="de-DE" kern="1200" dirty="0">
                <a:ea typeface="ＭＳ Ｐゴシック" pitchFamily="34" charset="-128"/>
                <a:cs typeface="+mn-cs"/>
              </a:rPr>
              <a:t> to </a:t>
            </a:r>
            <a:r>
              <a:rPr lang="de-DE" kern="1200" dirty="0" err="1">
                <a:ea typeface="ＭＳ Ｐゴシック" pitchFamily="34" charset="-128"/>
                <a:cs typeface="+mn-cs"/>
              </a:rPr>
              <a:t>guarantee</a:t>
            </a:r>
            <a:r>
              <a:rPr lang="de-DE" kern="1200" dirty="0">
                <a:ea typeface="ＭＳ Ｐゴシック" pitchFamily="34" charset="-128"/>
                <a:cs typeface="+mn-cs"/>
              </a:rPr>
              <a:t> a </a:t>
            </a:r>
            <a:r>
              <a:rPr lang="de-DE" kern="1200" dirty="0" err="1">
                <a:ea typeface="ＭＳ Ｐゴシック" pitchFamily="34" charset="-128"/>
                <a:cs typeface="+mn-cs"/>
              </a:rPr>
              <a:t>sustainable</a:t>
            </a:r>
            <a:r>
              <a:rPr lang="de-DE" kern="1200" dirty="0">
                <a:ea typeface="ＭＳ Ｐゴシック" pitchFamily="34" charset="-128"/>
                <a:cs typeface="+mn-cs"/>
              </a:rPr>
              <a:t> and </a:t>
            </a:r>
            <a:r>
              <a:rPr lang="de-DE" kern="1200" dirty="0" err="1">
                <a:ea typeface="ＭＳ Ｐゴシック" pitchFamily="34" charset="-128"/>
                <a:cs typeface="+mn-cs"/>
              </a:rPr>
              <a:t>reliable</a:t>
            </a:r>
            <a:r>
              <a:rPr lang="de-DE" kern="1200" dirty="0">
                <a:ea typeface="ＭＳ Ｐゴシック" pitchFamily="34" charset="-128"/>
                <a:cs typeface="+mn-cs"/>
              </a:rPr>
              <a:t> </a:t>
            </a:r>
            <a:r>
              <a:rPr lang="de-DE" kern="1200" dirty="0" err="1">
                <a:ea typeface="ＭＳ Ｐゴシック" pitchFamily="34" charset="-128"/>
                <a:cs typeface="+mn-cs"/>
              </a:rPr>
              <a:t>energy</a:t>
            </a:r>
            <a:r>
              <a:rPr lang="de-DE" kern="1200" dirty="0">
                <a:ea typeface="ＭＳ Ｐゴシック" pitchFamily="34" charset="-128"/>
                <a:cs typeface="+mn-cs"/>
              </a:rPr>
              <a:t> </a:t>
            </a:r>
            <a:r>
              <a:rPr lang="de-DE" kern="1200" dirty="0" err="1">
                <a:ea typeface="ＭＳ Ｐゴシック" pitchFamily="34" charset="-128"/>
                <a:cs typeface="+mn-cs"/>
              </a:rPr>
              <a:t>system</a:t>
            </a:r>
            <a:r>
              <a:rPr lang="de-DE" kern="1200" dirty="0">
                <a:ea typeface="ＭＳ Ｐゴシック" pitchFamily="34" charset="-128"/>
                <a:cs typeface="+mn-cs"/>
              </a:rPr>
              <a:t> </a:t>
            </a:r>
          </a:p>
          <a:p>
            <a:endParaRPr lang="de-DE" dirty="0"/>
          </a:p>
        </p:txBody>
      </p:sp>
      <p:grpSp>
        <p:nvGrpSpPr>
          <p:cNvPr id="4" name="Gruppieren 9"/>
          <p:cNvGrpSpPr>
            <a:grpSpLocks/>
          </p:cNvGrpSpPr>
          <p:nvPr/>
        </p:nvGrpSpPr>
        <p:grpSpPr bwMode="auto">
          <a:xfrm>
            <a:off x="1426684" y="3573016"/>
            <a:ext cx="6277664" cy="2294657"/>
            <a:chOff x="658813" y="3501889"/>
            <a:chExt cx="7804150" cy="2914091"/>
          </a:xfrm>
        </p:grpSpPr>
        <p:sp>
          <p:nvSpPr>
            <p:cNvPr id="5" name="Text Box 88"/>
            <p:cNvSpPr txBox="1"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4424391" y="3985559"/>
              <a:ext cx="172929" cy="1076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buChar char="&gt;"/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4pPr>
              <a:lvl5pPr marL="2057400" indent="-228600" eaLnBrk="0" hangingPunct="0">
                <a:buChar char="•"/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100000"/>
                </a:spcAft>
                <a:buClr>
                  <a:schemeClr val="accent1"/>
                </a:buClr>
                <a:buChar char="•"/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100000"/>
                </a:spcAft>
                <a:buClr>
                  <a:schemeClr val="accent1"/>
                </a:buClr>
                <a:buChar char="•"/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100000"/>
                </a:spcAft>
                <a:buClr>
                  <a:schemeClr val="accent1"/>
                </a:buClr>
                <a:buChar char="•"/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100000"/>
                </a:spcAft>
                <a:buClr>
                  <a:schemeClr val="accent1"/>
                </a:buClr>
                <a:buChar char="•"/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ct val="100000"/>
                </a:spcAft>
                <a:buClr>
                  <a:srgbClr val="0050A6"/>
                </a:buClr>
                <a:buFont typeface="Arial" pitchFamily="34" charset="0"/>
                <a:buNone/>
                <a:defRPr/>
              </a:pPr>
              <a:r>
                <a:rPr lang="de-DE" altLang="de-DE" sz="120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UHV</a:t>
              </a:r>
            </a:p>
          </p:txBody>
        </p:sp>
        <p:sp>
          <p:nvSpPr>
            <p:cNvPr id="6" name="Text Box 89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4467137" y="4580632"/>
              <a:ext cx="111724" cy="1086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buChar char="&gt;"/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4pPr>
              <a:lvl5pPr marL="2057400" indent="-228600" eaLnBrk="0" hangingPunct="0">
                <a:buChar char="•"/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100000"/>
                </a:spcAft>
                <a:buClr>
                  <a:schemeClr val="accent1"/>
                </a:buClr>
                <a:buChar char="•"/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100000"/>
                </a:spcAft>
                <a:buClr>
                  <a:schemeClr val="accent1"/>
                </a:buClr>
                <a:buChar char="•"/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100000"/>
                </a:spcAft>
                <a:buClr>
                  <a:schemeClr val="accent1"/>
                </a:buClr>
                <a:buChar char="•"/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100000"/>
                </a:spcAft>
                <a:buClr>
                  <a:schemeClr val="accent1"/>
                </a:buClr>
                <a:buChar char="•"/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ct val="100000"/>
                </a:spcAft>
                <a:buClr>
                  <a:srgbClr val="0050A6"/>
                </a:buClr>
                <a:buFont typeface="Arial" pitchFamily="34" charset="0"/>
                <a:buNone/>
                <a:defRPr/>
              </a:pPr>
              <a:r>
                <a:rPr lang="de-DE" altLang="de-DE" sz="120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HV</a:t>
              </a:r>
            </a:p>
          </p:txBody>
        </p:sp>
        <p:sp>
          <p:nvSpPr>
            <p:cNvPr id="7" name="Text Box 90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4457422" y="5125573"/>
              <a:ext cx="134069" cy="1076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buChar char="&gt;"/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4pPr>
              <a:lvl5pPr marL="2057400" indent="-228600" eaLnBrk="0" hangingPunct="0">
                <a:buChar char="•"/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100000"/>
                </a:spcAft>
                <a:buClr>
                  <a:schemeClr val="accent1"/>
                </a:buClr>
                <a:buChar char="•"/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100000"/>
                </a:spcAft>
                <a:buClr>
                  <a:schemeClr val="accent1"/>
                </a:buClr>
                <a:buChar char="•"/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100000"/>
                </a:spcAft>
                <a:buClr>
                  <a:schemeClr val="accent1"/>
                </a:buClr>
                <a:buChar char="•"/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100000"/>
                </a:spcAft>
                <a:buClr>
                  <a:schemeClr val="accent1"/>
                </a:buClr>
                <a:buChar char="•"/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ct val="100000"/>
                </a:spcAft>
                <a:buClr>
                  <a:srgbClr val="0050A6"/>
                </a:buClr>
                <a:buFont typeface="Arial" pitchFamily="34" charset="0"/>
                <a:buNone/>
                <a:defRPr/>
              </a:pPr>
              <a:r>
                <a:rPr lang="de-DE" altLang="de-DE" sz="120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MV</a:t>
              </a:r>
            </a:p>
          </p:txBody>
        </p:sp>
        <p:sp>
          <p:nvSpPr>
            <p:cNvPr id="8" name="Text Box 91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4467137" y="5624098"/>
              <a:ext cx="92294" cy="1076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1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chemeClr val="accent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eaLnBrk="0" hangingPunct="0">
                <a:buChar char="&gt;"/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1pPr>
              <a:lvl2pPr marL="742950" indent="-285750" eaLnBrk="0" hangingPunct="0">
                <a:buChar char="–"/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2pPr>
              <a:lvl3pPr marL="1143000" indent="-228600" eaLnBrk="0" hangingPunct="0">
                <a:buChar char="•"/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3pPr>
              <a:lvl4pPr marL="1600200" indent="-228600" eaLnBrk="0" hangingPunct="0">
                <a:buChar char="–"/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4pPr>
              <a:lvl5pPr marL="2057400" indent="-228600" eaLnBrk="0" hangingPunct="0">
                <a:buChar char="•"/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100000"/>
                </a:spcAft>
                <a:buClr>
                  <a:schemeClr val="accent1"/>
                </a:buClr>
                <a:buChar char="•"/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100000"/>
                </a:spcAft>
                <a:buClr>
                  <a:schemeClr val="accent1"/>
                </a:buClr>
                <a:buChar char="•"/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100000"/>
                </a:spcAft>
                <a:buClr>
                  <a:schemeClr val="accent1"/>
                </a:buClr>
                <a:buChar char="•"/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100000"/>
                </a:spcAft>
                <a:buClr>
                  <a:schemeClr val="accent1"/>
                </a:buClr>
                <a:buChar char="•"/>
                <a:defRPr sz="2000"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  <a:cs typeface="Arial" pitchFamily="34" charset="0"/>
                </a:defRPr>
              </a:lvl9pPr>
            </a:lstStyle>
            <a:p>
              <a:pPr eaLnBrk="1" fontAlgn="auto" hangingPunct="1">
                <a:spcBef>
                  <a:spcPts val="0"/>
                </a:spcBef>
                <a:spcAft>
                  <a:spcPct val="100000"/>
                </a:spcAft>
                <a:buClr>
                  <a:srgbClr val="0050A6"/>
                </a:buClr>
                <a:buFont typeface="Arial" pitchFamily="34" charset="0"/>
                <a:buNone/>
                <a:defRPr/>
              </a:pPr>
              <a:r>
                <a:rPr lang="de-DE" altLang="de-DE" sz="1200" kern="0" dirty="0" smtClean="0">
                  <a:solidFill>
                    <a:srgbClr val="000000"/>
                  </a:solidFill>
                  <a:latin typeface="Calibri" panose="020F0502020204030204" pitchFamily="34" charset="0"/>
                </a:rPr>
                <a:t>LV</a:t>
              </a:r>
            </a:p>
          </p:txBody>
        </p:sp>
        <p:grpSp>
          <p:nvGrpSpPr>
            <p:cNvPr id="9" name="Gruppieren 27"/>
            <p:cNvGrpSpPr>
              <a:grpSpLocks/>
            </p:cNvGrpSpPr>
            <p:nvPr/>
          </p:nvGrpSpPr>
          <p:grpSpPr bwMode="auto">
            <a:xfrm>
              <a:off x="658813" y="3710880"/>
              <a:ext cx="3535362" cy="2595563"/>
              <a:chOff x="372671" y="2316321"/>
              <a:chExt cx="3535331" cy="2594950"/>
            </a:xfrm>
          </p:grpSpPr>
          <p:sp>
            <p:nvSpPr>
              <p:cNvPr id="166" name="Pfeil nach unten 165"/>
              <p:cNvSpPr/>
              <p:nvPr>
                <p:custDataLst>
                  <p:tags r:id="rId50"/>
                </p:custDataLst>
              </p:nvPr>
            </p:nvSpPr>
            <p:spPr bwMode="auto">
              <a:xfrm>
                <a:off x="1206220" y="3304668"/>
                <a:ext cx="525583" cy="549454"/>
              </a:xfrm>
              <a:prstGeom prst="downArrow">
                <a:avLst/>
              </a:prstGeom>
              <a:solidFill>
                <a:srgbClr val="0050A6">
                  <a:lumMod val="20000"/>
                  <a:lumOff val="80000"/>
                </a:srgbClr>
              </a:solidFill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0000" tIns="46800" rIns="90000" bIns="46800" anchor="ctr"/>
              <a:lstStyle/>
              <a:p>
                <a:pPr marL="266700" indent="-266700" algn="ctr" fontAlgn="auto">
                  <a:spcBef>
                    <a:spcPts val="0"/>
                  </a:spcBef>
                  <a:spcAft>
                    <a:spcPct val="100000"/>
                  </a:spcAft>
                  <a:buClr>
                    <a:srgbClr val="0050A6"/>
                  </a:buClr>
                  <a:buFont typeface="Arial" pitchFamily="34" charset="0"/>
                  <a:buChar char="&gt;"/>
                  <a:defRPr/>
                </a:pPr>
                <a:endParaRPr lang="de-DE" sz="2000" kern="0" dirty="0">
                  <a:solidFill>
                    <a:srgbClr val="000000"/>
                  </a:solidFill>
                  <a:latin typeface="Calibri" panose="020F0502020204030204" pitchFamily="34" charset="0"/>
                  <a:cs typeface="Arial"/>
                </a:endParaRPr>
              </a:p>
            </p:txBody>
          </p:sp>
          <p:sp>
            <p:nvSpPr>
              <p:cNvPr id="167" name="Pfeil nach unten 166"/>
              <p:cNvSpPr/>
              <p:nvPr>
                <p:custDataLst>
                  <p:tags r:id="rId51"/>
                </p:custDataLst>
              </p:nvPr>
            </p:nvSpPr>
            <p:spPr bwMode="auto">
              <a:xfrm>
                <a:off x="1402464" y="3862475"/>
                <a:ext cx="524611" cy="550382"/>
              </a:xfrm>
              <a:prstGeom prst="downArrow">
                <a:avLst/>
              </a:prstGeom>
              <a:solidFill>
                <a:srgbClr val="0050A6">
                  <a:lumMod val="20000"/>
                  <a:lumOff val="80000"/>
                </a:srgbClr>
              </a:solidFill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0000" tIns="46800" rIns="90000" bIns="46800" anchor="ctr"/>
              <a:lstStyle/>
              <a:p>
                <a:pPr marL="266700" indent="-266700" algn="ctr" fontAlgn="auto">
                  <a:spcBef>
                    <a:spcPts val="0"/>
                  </a:spcBef>
                  <a:spcAft>
                    <a:spcPct val="100000"/>
                  </a:spcAft>
                  <a:buClr>
                    <a:srgbClr val="0050A6"/>
                  </a:buClr>
                  <a:buFont typeface="Arial" pitchFamily="34" charset="0"/>
                  <a:buChar char="&gt;"/>
                  <a:defRPr/>
                </a:pPr>
                <a:endParaRPr lang="de-DE" sz="2000" kern="0" dirty="0">
                  <a:solidFill>
                    <a:srgbClr val="000000"/>
                  </a:solidFill>
                  <a:latin typeface="Calibri" panose="020F0502020204030204" pitchFamily="34" charset="0"/>
                  <a:cs typeface="Arial"/>
                </a:endParaRPr>
              </a:p>
            </p:txBody>
          </p:sp>
          <p:sp>
            <p:nvSpPr>
              <p:cNvPr id="168" name="Pfeil nach unten 167"/>
              <p:cNvSpPr/>
              <p:nvPr>
                <p:custDataLst>
                  <p:tags r:id="rId52"/>
                </p:custDataLst>
              </p:nvPr>
            </p:nvSpPr>
            <p:spPr bwMode="auto">
              <a:xfrm>
                <a:off x="445534" y="3862475"/>
                <a:ext cx="525583" cy="550382"/>
              </a:xfrm>
              <a:prstGeom prst="downArrow">
                <a:avLst/>
              </a:prstGeom>
              <a:solidFill>
                <a:srgbClr val="0050A6">
                  <a:lumMod val="20000"/>
                  <a:lumOff val="80000"/>
                </a:srgbClr>
              </a:solidFill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0000" tIns="46800" rIns="90000" bIns="46800" anchor="ctr"/>
              <a:lstStyle/>
              <a:p>
                <a:pPr marL="266700" indent="-266700" algn="ctr" fontAlgn="auto">
                  <a:spcBef>
                    <a:spcPts val="0"/>
                  </a:spcBef>
                  <a:spcAft>
                    <a:spcPct val="100000"/>
                  </a:spcAft>
                  <a:buClr>
                    <a:srgbClr val="0050A6"/>
                  </a:buClr>
                  <a:buFont typeface="Arial" pitchFamily="34" charset="0"/>
                  <a:buChar char="&gt;"/>
                  <a:defRPr/>
                </a:pPr>
                <a:endParaRPr lang="de-DE" sz="2000" kern="0" dirty="0">
                  <a:solidFill>
                    <a:srgbClr val="000000"/>
                  </a:solidFill>
                  <a:latin typeface="Calibri" panose="020F0502020204030204" pitchFamily="34" charset="0"/>
                  <a:cs typeface="Arial"/>
                </a:endParaRPr>
              </a:p>
            </p:txBody>
          </p:sp>
          <p:sp>
            <p:nvSpPr>
              <p:cNvPr id="169" name="Pfeil nach unten 168"/>
              <p:cNvSpPr/>
              <p:nvPr>
                <p:custDataLst>
                  <p:tags r:id="rId53"/>
                </p:custDataLst>
              </p:nvPr>
            </p:nvSpPr>
            <p:spPr bwMode="auto">
              <a:xfrm>
                <a:off x="3314381" y="3862475"/>
                <a:ext cx="523640" cy="550382"/>
              </a:xfrm>
              <a:prstGeom prst="downArrow">
                <a:avLst/>
              </a:prstGeom>
              <a:solidFill>
                <a:srgbClr val="0050A6">
                  <a:lumMod val="20000"/>
                  <a:lumOff val="80000"/>
                </a:srgbClr>
              </a:solidFill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0000" tIns="46800" rIns="90000" bIns="46800" anchor="ctr"/>
              <a:lstStyle/>
              <a:p>
                <a:pPr marL="266700" indent="-266700" algn="ctr" fontAlgn="auto">
                  <a:spcBef>
                    <a:spcPts val="0"/>
                  </a:spcBef>
                  <a:spcAft>
                    <a:spcPct val="100000"/>
                  </a:spcAft>
                  <a:buClr>
                    <a:srgbClr val="0050A6"/>
                  </a:buClr>
                  <a:buFont typeface="Arial" pitchFamily="34" charset="0"/>
                  <a:buChar char="&gt;"/>
                  <a:defRPr/>
                </a:pPr>
                <a:endParaRPr lang="de-DE" sz="2000" kern="0" dirty="0">
                  <a:solidFill>
                    <a:srgbClr val="000000"/>
                  </a:solidFill>
                  <a:latin typeface="Calibri" panose="020F0502020204030204" pitchFamily="34" charset="0"/>
                  <a:cs typeface="Arial"/>
                </a:endParaRPr>
              </a:p>
            </p:txBody>
          </p:sp>
          <p:sp>
            <p:nvSpPr>
              <p:cNvPr id="170" name="Pfeil nach unten 169"/>
              <p:cNvSpPr/>
              <p:nvPr>
                <p:custDataLst>
                  <p:tags r:id="rId54"/>
                </p:custDataLst>
              </p:nvPr>
            </p:nvSpPr>
            <p:spPr bwMode="auto">
              <a:xfrm>
                <a:off x="2358422" y="3862475"/>
                <a:ext cx="523640" cy="550382"/>
              </a:xfrm>
              <a:prstGeom prst="downArrow">
                <a:avLst/>
              </a:prstGeom>
              <a:solidFill>
                <a:srgbClr val="0050A6">
                  <a:lumMod val="20000"/>
                  <a:lumOff val="80000"/>
                </a:srgbClr>
              </a:solidFill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0000" tIns="46800" rIns="90000" bIns="46800" anchor="ctr"/>
              <a:lstStyle/>
              <a:p>
                <a:pPr marL="266700" indent="-266700" algn="ctr" fontAlgn="auto">
                  <a:spcBef>
                    <a:spcPts val="0"/>
                  </a:spcBef>
                  <a:spcAft>
                    <a:spcPct val="100000"/>
                  </a:spcAft>
                  <a:buClr>
                    <a:srgbClr val="0050A6"/>
                  </a:buClr>
                  <a:buFont typeface="Arial" pitchFamily="34" charset="0"/>
                  <a:buChar char="&gt;"/>
                  <a:defRPr/>
                </a:pPr>
                <a:endParaRPr lang="de-DE" sz="2000" kern="0" dirty="0">
                  <a:solidFill>
                    <a:srgbClr val="000000"/>
                  </a:solidFill>
                  <a:latin typeface="Calibri" panose="020F0502020204030204" pitchFamily="34" charset="0"/>
                  <a:cs typeface="Arial"/>
                </a:endParaRPr>
              </a:p>
            </p:txBody>
          </p:sp>
          <p:sp>
            <p:nvSpPr>
              <p:cNvPr id="171" name="Pfeil nach unten 170"/>
              <p:cNvSpPr/>
              <p:nvPr>
                <p:custDataLst>
                  <p:tags r:id="rId55"/>
                </p:custDataLst>
              </p:nvPr>
            </p:nvSpPr>
            <p:spPr bwMode="auto">
              <a:xfrm>
                <a:off x="2556609" y="3304668"/>
                <a:ext cx="525583" cy="549454"/>
              </a:xfrm>
              <a:prstGeom prst="downArrow">
                <a:avLst/>
              </a:prstGeom>
              <a:solidFill>
                <a:srgbClr val="0050A6">
                  <a:lumMod val="20000"/>
                  <a:lumOff val="80000"/>
                </a:srgbClr>
              </a:solidFill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0000" tIns="46800" rIns="90000" bIns="46800" anchor="ctr"/>
              <a:lstStyle/>
              <a:p>
                <a:pPr marL="266700" indent="-266700" algn="ctr" fontAlgn="auto">
                  <a:spcBef>
                    <a:spcPts val="0"/>
                  </a:spcBef>
                  <a:spcAft>
                    <a:spcPct val="100000"/>
                  </a:spcAft>
                  <a:buClr>
                    <a:srgbClr val="0050A6"/>
                  </a:buClr>
                  <a:buFont typeface="Arial" pitchFamily="34" charset="0"/>
                  <a:buChar char="&gt;"/>
                  <a:defRPr/>
                </a:pPr>
                <a:endParaRPr lang="de-DE" sz="2000" kern="0" dirty="0">
                  <a:solidFill>
                    <a:srgbClr val="000000"/>
                  </a:solidFill>
                  <a:latin typeface="Calibri" panose="020F0502020204030204" pitchFamily="34" charset="0"/>
                  <a:cs typeface="Arial"/>
                </a:endParaRPr>
              </a:p>
            </p:txBody>
          </p:sp>
          <p:sp>
            <p:nvSpPr>
              <p:cNvPr id="172" name="Pfeil nach unten 171"/>
              <p:cNvSpPr/>
              <p:nvPr>
                <p:custDataLst>
                  <p:tags r:id="rId56"/>
                </p:custDataLst>
              </p:nvPr>
            </p:nvSpPr>
            <p:spPr bwMode="auto">
              <a:xfrm>
                <a:off x="1880443" y="2763568"/>
                <a:ext cx="524611" cy="551310"/>
              </a:xfrm>
              <a:prstGeom prst="downArrow">
                <a:avLst/>
              </a:prstGeom>
              <a:solidFill>
                <a:srgbClr val="0050A6">
                  <a:lumMod val="20000"/>
                  <a:lumOff val="80000"/>
                </a:srgbClr>
              </a:solidFill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0000" tIns="46800" rIns="90000" bIns="46800" anchor="ctr"/>
              <a:lstStyle/>
              <a:p>
                <a:pPr marL="266700" indent="-266700" algn="ctr" fontAlgn="auto">
                  <a:spcBef>
                    <a:spcPts val="0"/>
                  </a:spcBef>
                  <a:spcAft>
                    <a:spcPct val="100000"/>
                  </a:spcAft>
                  <a:buClr>
                    <a:srgbClr val="0050A6"/>
                  </a:buClr>
                  <a:buFont typeface="Arial" pitchFamily="34" charset="0"/>
                  <a:buChar char="&gt;"/>
                  <a:defRPr/>
                </a:pPr>
                <a:endParaRPr lang="de-DE" sz="2000" kern="0" dirty="0">
                  <a:solidFill>
                    <a:srgbClr val="000000"/>
                  </a:solidFill>
                  <a:latin typeface="Calibri" panose="020F0502020204030204" pitchFamily="34" charset="0"/>
                  <a:cs typeface="Arial"/>
                </a:endParaRPr>
              </a:p>
            </p:txBody>
          </p:sp>
          <p:grpSp>
            <p:nvGrpSpPr>
              <p:cNvPr id="173" name="Group 6"/>
              <p:cNvGrpSpPr>
                <a:grpSpLocks/>
              </p:cNvGrpSpPr>
              <p:nvPr>
                <p:custDataLst>
                  <p:tags r:id="rId57"/>
                </p:custDataLst>
              </p:nvPr>
            </p:nvGrpSpPr>
            <p:grpSpPr bwMode="auto">
              <a:xfrm>
                <a:off x="619365" y="3802821"/>
                <a:ext cx="176253" cy="529795"/>
                <a:chOff x="782" y="1139"/>
                <a:chExt cx="170" cy="511"/>
              </a:xfrm>
            </p:grpSpPr>
            <p:sp>
              <p:nvSpPr>
                <p:cNvPr id="257" name="Oval 7"/>
                <p:cNvSpPr>
                  <a:spLocks noChangeArrowheads="1"/>
                </p:cNvSpPr>
                <p:nvPr/>
              </p:nvSpPr>
              <p:spPr bwMode="gray">
                <a:xfrm>
                  <a:off x="782" y="1253"/>
                  <a:ext cx="170" cy="170"/>
                </a:xfrm>
                <a:prstGeom prst="ellipse">
                  <a:avLst/>
                </a:prstGeom>
                <a:noFill/>
                <a:ln w="19050" algn="ctr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>
                  <a:lvl1pPr eaLnBrk="0" hangingPunct="0">
                    <a:buChar char="&gt;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1pPr>
                  <a:lvl2pPr marL="742950" indent="-28575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2pPr>
                  <a:lvl3pPr marL="11430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3pPr>
                  <a:lvl4pPr marL="1600200" indent="-22860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4pPr>
                  <a:lvl5pPr marL="20574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9pPr>
                </a:lstStyle>
                <a:p>
                  <a:pPr eaLnBrk="1" fontAlgn="auto" hangingPunct="1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altLang="de-DE" sz="1800" kern="0" dirty="0" smtClean="0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58" name="Oval 8"/>
                <p:cNvSpPr>
                  <a:spLocks noChangeArrowheads="1"/>
                </p:cNvSpPr>
                <p:nvPr/>
              </p:nvSpPr>
              <p:spPr bwMode="gray">
                <a:xfrm>
                  <a:off x="782" y="1368"/>
                  <a:ext cx="170" cy="170"/>
                </a:xfrm>
                <a:prstGeom prst="ellipse">
                  <a:avLst/>
                </a:prstGeom>
                <a:noFill/>
                <a:ln w="19050" algn="ctr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>
                  <a:lvl1pPr eaLnBrk="0" hangingPunct="0">
                    <a:buChar char="&gt;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1pPr>
                  <a:lvl2pPr marL="742950" indent="-28575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2pPr>
                  <a:lvl3pPr marL="11430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3pPr>
                  <a:lvl4pPr marL="1600200" indent="-22860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4pPr>
                  <a:lvl5pPr marL="20574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9pPr>
                </a:lstStyle>
                <a:p>
                  <a:pPr eaLnBrk="1" fontAlgn="auto" hangingPunct="1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altLang="de-DE" sz="1800" kern="0" dirty="0" smtClean="0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59" name="Line 9"/>
                <p:cNvSpPr>
                  <a:spLocks noChangeShapeType="1"/>
                </p:cNvSpPr>
                <p:nvPr/>
              </p:nvSpPr>
              <p:spPr bwMode="gray">
                <a:xfrm>
                  <a:off x="867" y="1539"/>
                  <a:ext cx="0" cy="114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260" name="Line 10"/>
                <p:cNvSpPr>
                  <a:spLocks noChangeShapeType="1"/>
                </p:cNvSpPr>
                <p:nvPr/>
              </p:nvSpPr>
              <p:spPr bwMode="gray">
                <a:xfrm>
                  <a:off x="867" y="1139"/>
                  <a:ext cx="0" cy="114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</p:grpSp>
          <p:grpSp>
            <p:nvGrpSpPr>
              <p:cNvPr id="174" name="Group 6"/>
              <p:cNvGrpSpPr>
                <a:grpSpLocks/>
              </p:cNvGrpSpPr>
              <p:nvPr>
                <p:custDataLst>
                  <p:tags r:id="rId58"/>
                </p:custDataLst>
              </p:nvPr>
            </p:nvGrpSpPr>
            <p:grpSpPr bwMode="auto">
              <a:xfrm>
                <a:off x="1574729" y="3802821"/>
                <a:ext cx="176253" cy="529795"/>
                <a:chOff x="782" y="1139"/>
                <a:chExt cx="170" cy="511"/>
              </a:xfrm>
            </p:grpSpPr>
            <p:sp>
              <p:nvSpPr>
                <p:cNvPr id="253" name="Oval 7"/>
                <p:cNvSpPr>
                  <a:spLocks noChangeArrowheads="1"/>
                </p:cNvSpPr>
                <p:nvPr/>
              </p:nvSpPr>
              <p:spPr bwMode="gray">
                <a:xfrm>
                  <a:off x="782" y="1253"/>
                  <a:ext cx="171" cy="170"/>
                </a:xfrm>
                <a:prstGeom prst="ellipse">
                  <a:avLst/>
                </a:prstGeom>
                <a:noFill/>
                <a:ln w="19050" algn="ctr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>
                  <a:lvl1pPr eaLnBrk="0" hangingPunct="0">
                    <a:buChar char="&gt;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1pPr>
                  <a:lvl2pPr marL="742950" indent="-28575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2pPr>
                  <a:lvl3pPr marL="11430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3pPr>
                  <a:lvl4pPr marL="1600200" indent="-22860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4pPr>
                  <a:lvl5pPr marL="20574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9pPr>
                </a:lstStyle>
                <a:p>
                  <a:pPr eaLnBrk="1" fontAlgn="auto" hangingPunct="1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altLang="de-DE" sz="1800" kern="0" dirty="0" smtClean="0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54" name="Oval 8"/>
                <p:cNvSpPr>
                  <a:spLocks noChangeArrowheads="1"/>
                </p:cNvSpPr>
                <p:nvPr/>
              </p:nvSpPr>
              <p:spPr bwMode="gray">
                <a:xfrm>
                  <a:off x="782" y="1368"/>
                  <a:ext cx="171" cy="170"/>
                </a:xfrm>
                <a:prstGeom prst="ellipse">
                  <a:avLst/>
                </a:prstGeom>
                <a:noFill/>
                <a:ln w="19050" algn="ctr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>
                  <a:lvl1pPr eaLnBrk="0" hangingPunct="0">
                    <a:buChar char="&gt;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1pPr>
                  <a:lvl2pPr marL="742950" indent="-28575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2pPr>
                  <a:lvl3pPr marL="11430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3pPr>
                  <a:lvl4pPr marL="1600200" indent="-22860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4pPr>
                  <a:lvl5pPr marL="20574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9pPr>
                </a:lstStyle>
                <a:p>
                  <a:pPr eaLnBrk="1" fontAlgn="auto" hangingPunct="1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altLang="de-DE" sz="1800" kern="0" dirty="0" smtClean="0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55" name="Line 9"/>
                <p:cNvSpPr>
                  <a:spLocks noChangeShapeType="1"/>
                </p:cNvSpPr>
                <p:nvPr/>
              </p:nvSpPr>
              <p:spPr bwMode="gray">
                <a:xfrm>
                  <a:off x="867" y="1539"/>
                  <a:ext cx="0" cy="114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256" name="Line 10"/>
                <p:cNvSpPr>
                  <a:spLocks noChangeShapeType="1"/>
                </p:cNvSpPr>
                <p:nvPr/>
              </p:nvSpPr>
              <p:spPr bwMode="gray">
                <a:xfrm>
                  <a:off x="867" y="1139"/>
                  <a:ext cx="0" cy="114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</p:grpSp>
          <p:grpSp>
            <p:nvGrpSpPr>
              <p:cNvPr id="175" name="Group 6"/>
              <p:cNvGrpSpPr>
                <a:grpSpLocks/>
              </p:cNvGrpSpPr>
              <p:nvPr>
                <p:custDataLst>
                  <p:tags r:id="rId59"/>
                </p:custDataLst>
              </p:nvPr>
            </p:nvGrpSpPr>
            <p:grpSpPr bwMode="auto">
              <a:xfrm>
                <a:off x="2530093" y="3802821"/>
                <a:ext cx="176253" cy="529795"/>
                <a:chOff x="782" y="1139"/>
                <a:chExt cx="170" cy="511"/>
              </a:xfrm>
            </p:grpSpPr>
            <p:sp>
              <p:nvSpPr>
                <p:cNvPr id="249" name="Oval 7"/>
                <p:cNvSpPr>
                  <a:spLocks noChangeArrowheads="1"/>
                </p:cNvSpPr>
                <p:nvPr/>
              </p:nvSpPr>
              <p:spPr bwMode="gray">
                <a:xfrm>
                  <a:off x="782" y="1253"/>
                  <a:ext cx="170" cy="170"/>
                </a:xfrm>
                <a:prstGeom prst="ellipse">
                  <a:avLst/>
                </a:prstGeom>
                <a:noFill/>
                <a:ln w="19050" algn="ctr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>
                  <a:lvl1pPr eaLnBrk="0" hangingPunct="0">
                    <a:buChar char="&gt;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1pPr>
                  <a:lvl2pPr marL="742950" indent="-28575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2pPr>
                  <a:lvl3pPr marL="11430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3pPr>
                  <a:lvl4pPr marL="1600200" indent="-22860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4pPr>
                  <a:lvl5pPr marL="20574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9pPr>
                </a:lstStyle>
                <a:p>
                  <a:pPr eaLnBrk="1" fontAlgn="auto" hangingPunct="1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altLang="de-DE" sz="1800" kern="0" dirty="0" smtClean="0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50" name="Oval 8"/>
                <p:cNvSpPr>
                  <a:spLocks noChangeArrowheads="1"/>
                </p:cNvSpPr>
                <p:nvPr/>
              </p:nvSpPr>
              <p:spPr bwMode="gray">
                <a:xfrm>
                  <a:off x="782" y="1368"/>
                  <a:ext cx="170" cy="170"/>
                </a:xfrm>
                <a:prstGeom prst="ellipse">
                  <a:avLst/>
                </a:prstGeom>
                <a:noFill/>
                <a:ln w="19050" algn="ctr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>
                  <a:lvl1pPr eaLnBrk="0" hangingPunct="0">
                    <a:buChar char="&gt;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1pPr>
                  <a:lvl2pPr marL="742950" indent="-28575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2pPr>
                  <a:lvl3pPr marL="11430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3pPr>
                  <a:lvl4pPr marL="1600200" indent="-22860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4pPr>
                  <a:lvl5pPr marL="20574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9pPr>
                </a:lstStyle>
                <a:p>
                  <a:pPr eaLnBrk="1" fontAlgn="auto" hangingPunct="1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altLang="de-DE" sz="1800" kern="0" dirty="0" smtClean="0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51" name="Line 9"/>
                <p:cNvSpPr>
                  <a:spLocks noChangeShapeType="1"/>
                </p:cNvSpPr>
                <p:nvPr/>
              </p:nvSpPr>
              <p:spPr bwMode="gray">
                <a:xfrm>
                  <a:off x="868" y="1539"/>
                  <a:ext cx="0" cy="114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252" name="Line 10"/>
                <p:cNvSpPr>
                  <a:spLocks noChangeShapeType="1"/>
                </p:cNvSpPr>
                <p:nvPr/>
              </p:nvSpPr>
              <p:spPr bwMode="gray">
                <a:xfrm>
                  <a:off x="868" y="1139"/>
                  <a:ext cx="0" cy="114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</p:grpSp>
          <p:grpSp>
            <p:nvGrpSpPr>
              <p:cNvPr id="176" name="Group 6"/>
              <p:cNvGrpSpPr>
                <a:grpSpLocks/>
              </p:cNvGrpSpPr>
              <p:nvPr>
                <p:custDataLst>
                  <p:tags r:id="rId60"/>
                </p:custDataLst>
              </p:nvPr>
            </p:nvGrpSpPr>
            <p:grpSpPr bwMode="auto">
              <a:xfrm>
                <a:off x="3485456" y="3805222"/>
                <a:ext cx="176253" cy="529795"/>
                <a:chOff x="782" y="1139"/>
                <a:chExt cx="170" cy="511"/>
              </a:xfrm>
            </p:grpSpPr>
            <p:sp>
              <p:nvSpPr>
                <p:cNvPr id="245" name="Oval 7"/>
                <p:cNvSpPr>
                  <a:spLocks noChangeArrowheads="1"/>
                </p:cNvSpPr>
                <p:nvPr/>
              </p:nvSpPr>
              <p:spPr bwMode="gray">
                <a:xfrm>
                  <a:off x="782" y="1252"/>
                  <a:ext cx="170" cy="170"/>
                </a:xfrm>
                <a:prstGeom prst="ellipse">
                  <a:avLst/>
                </a:prstGeom>
                <a:noFill/>
                <a:ln w="19050" algn="ctr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>
                  <a:lvl1pPr eaLnBrk="0" hangingPunct="0">
                    <a:buChar char="&gt;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1pPr>
                  <a:lvl2pPr marL="742950" indent="-28575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2pPr>
                  <a:lvl3pPr marL="11430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3pPr>
                  <a:lvl4pPr marL="1600200" indent="-22860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4pPr>
                  <a:lvl5pPr marL="20574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9pPr>
                </a:lstStyle>
                <a:p>
                  <a:pPr eaLnBrk="1" fontAlgn="auto" hangingPunct="1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altLang="de-DE" sz="1800" kern="0" dirty="0" smtClean="0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46" name="Oval 8"/>
                <p:cNvSpPr>
                  <a:spLocks noChangeArrowheads="1"/>
                </p:cNvSpPr>
                <p:nvPr/>
              </p:nvSpPr>
              <p:spPr bwMode="gray">
                <a:xfrm>
                  <a:off x="782" y="1366"/>
                  <a:ext cx="170" cy="170"/>
                </a:xfrm>
                <a:prstGeom prst="ellipse">
                  <a:avLst/>
                </a:prstGeom>
                <a:noFill/>
                <a:ln w="19050" algn="ctr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>
                  <a:lvl1pPr eaLnBrk="0" hangingPunct="0">
                    <a:buChar char="&gt;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1pPr>
                  <a:lvl2pPr marL="742950" indent="-28575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2pPr>
                  <a:lvl3pPr marL="11430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3pPr>
                  <a:lvl4pPr marL="1600200" indent="-22860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4pPr>
                  <a:lvl5pPr marL="20574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9pPr>
                </a:lstStyle>
                <a:p>
                  <a:pPr eaLnBrk="1" fontAlgn="auto" hangingPunct="1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altLang="de-DE" sz="1800" kern="0" dirty="0" smtClean="0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47" name="Line 9"/>
                <p:cNvSpPr>
                  <a:spLocks noChangeShapeType="1"/>
                </p:cNvSpPr>
                <p:nvPr/>
              </p:nvSpPr>
              <p:spPr bwMode="gray">
                <a:xfrm>
                  <a:off x="867" y="1536"/>
                  <a:ext cx="0" cy="114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248" name="Line 10"/>
                <p:cNvSpPr>
                  <a:spLocks noChangeShapeType="1"/>
                </p:cNvSpPr>
                <p:nvPr/>
              </p:nvSpPr>
              <p:spPr bwMode="gray">
                <a:xfrm>
                  <a:off x="867" y="1139"/>
                  <a:ext cx="0" cy="114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</p:grpSp>
          <p:grpSp>
            <p:nvGrpSpPr>
              <p:cNvPr id="177" name="Gruppieren 39"/>
              <p:cNvGrpSpPr>
                <a:grpSpLocks/>
              </p:cNvGrpSpPr>
              <p:nvPr>
                <p:custDataLst>
                  <p:tags r:id="rId61"/>
                </p:custDataLst>
              </p:nvPr>
            </p:nvGrpSpPr>
            <p:grpSpPr bwMode="auto">
              <a:xfrm>
                <a:off x="1333071" y="4331741"/>
                <a:ext cx="665202" cy="366503"/>
                <a:chOff x="1087727" y="4216327"/>
                <a:chExt cx="665202" cy="366503"/>
              </a:xfrm>
            </p:grpSpPr>
            <p:sp>
              <p:nvSpPr>
                <p:cNvPr id="242" name="Line 84"/>
                <p:cNvSpPr>
                  <a:spLocks noChangeShapeType="1"/>
                </p:cNvSpPr>
                <p:nvPr/>
              </p:nvSpPr>
              <p:spPr bwMode="gray">
                <a:xfrm>
                  <a:off x="1088144" y="4216695"/>
                  <a:ext cx="664508" cy="0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243" name="Line 72"/>
                <p:cNvSpPr>
                  <a:spLocks noChangeShapeType="1"/>
                </p:cNvSpPr>
                <p:nvPr/>
              </p:nvSpPr>
              <p:spPr bwMode="gray">
                <a:xfrm>
                  <a:off x="1243584" y="4223193"/>
                  <a:ext cx="0" cy="359186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244" name="Line 72"/>
                <p:cNvSpPr>
                  <a:spLocks noChangeShapeType="1"/>
                </p:cNvSpPr>
                <p:nvPr/>
              </p:nvSpPr>
              <p:spPr bwMode="gray">
                <a:xfrm>
                  <a:off x="1597211" y="4223193"/>
                  <a:ext cx="0" cy="359186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</p:grpSp>
          <p:grpSp>
            <p:nvGrpSpPr>
              <p:cNvPr id="178" name="Gruppieren 177"/>
              <p:cNvGrpSpPr/>
              <p:nvPr>
                <p:custDataLst>
                  <p:tags r:id="rId62"/>
                </p:custDataLst>
              </p:nvPr>
            </p:nvGrpSpPr>
            <p:grpSpPr>
              <a:xfrm>
                <a:off x="3435787" y="4614924"/>
                <a:ext cx="275208" cy="296347"/>
                <a:chOff x="3915054" y="4722296"/>
                <a:chExt cx="275208" cy="296347"/>
              </a:xfrm>
              <a:solidFill>
                <a:srgbClr val="3D67AE"/>
              </a:solidFill>
            </p:grpSpPr>
            <p:sp>
              <p:nvSpPr>
                <p:cNvPr id="239" name="Rechteck 238"/>
                <p:cNvSpPr/>
                <p:nvPr/>
              </p:nvSpPr>
              <p:spPr bwMode="auto">
                <a:xfrm>
                  <a:off x="3981181" y="4889500"/>
                  <a:ext cx="142955" cy="129143"/>
                </a:xfrm>
                <a:prstGeom prst="rect">
                  <a:avLst/>
                </a:prstGeom>
                <a:grpFill/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240" name="Gleichschenkliges Dreieck 239"/>
                <p:cNvSpPr/>
                <p:nvPr/>
              </p:nvSpPr>
              <p:spPr bwMode="auto">
                <a:xfrm>
                  <a:off x="3915054" y="4729902"/>
                  <a:ext cx="275208" cy="159598"/>
                </a:xfrm>
                <a:prstGeom prst="triangle">
                  <a:avLst/>
                </a:prstGeom>
                <a:grpFill/>
                <a:ln w="6350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241" name="Rechteck 240"/>
                <p:cNvSpPr/>
                <p:nvPr/>
              </p:nvSpPr>
              <p:spPr bwMode="auto">
                <a:xfrm>
                  <a:off x="4086241" y="4722296"/>
                  <a:ext cx="45719" cy="129143"/>
                </a:xfrm>
                <a:prstGeom prst="rect">
                  <a:avLst/>
                </a:prstGeom>
                <a:grpFill/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</p:grpSp>
          <p:grpSp>
            <p:nvGrpSpPr>
              <p:cNvPr id="179" name="Gruppieren 178"/>
              <p:cNvGrpSpPr/>
              <p:nvPr>
                <p:custDataLst>
                  <p:tags r:id="rId63"/>
                </p:custDataLst>
              </p:nvPr>
            </p:nvGrpSpPr>
            <p:grpSpPr>
              <a:xfrm>
                <a:off x="2682371" y="2864307"/>
                <a:ext cx="474157" cy="327506"/>
                <a:chOff x="3976870" y="4597329"/>
                <a:chExt cx="474157" cy="327506"/>
              </a:xfrm>
              <a:solidFill>
                <a:srgbClr val="3D67AE"/>
              </a:solidFill>
            </p:grpSpPr>
            <p:sp>
              <p:nvSpPr>
                <p:cNvPr id="234" name="Rechteck 233"/>
                <p:cNvSpPr/>
                <p:nvPr/>
              </p:nvSpPr>
              <p:spPr bwMode="auto">
                <a:xfrm>
                  <a:off x="4027703" y="4795691"/>
                  <a:ext cx="423324" cy="129143"/>
                </a:xfrm>
                <a:prstGeom prst="rect">
                  <a:avLst/>
                </a:prstGeom>
                <a:grpFill/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235" name="Rechteck 234"/>
                <p:cNvSpPr/>
                <p:nvPr/>
              </p:nvSpPr>
              <p:spPr bwMode="auto">
                <a:xfrm>
                  <a:off x="3976870" y="4597329"/>
                  <a:ext cx="80780" cy="327506"/>
                </a:xfrm>
                <a:prstGeom prst="rect">
                  <a:avLst/>
                </a:prstGeom>
                <a:grpFill/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236" name="Gleichschenkliges Dreieck 235"/>
                <p:cNvSpPr/>
                <p:nvPr/>
              </p:nvSpPr>
              <p:spPr bwMode="auto">
                <a:xfrm rot="12600000">
                  <a:off x="4284196" y="4750107"/>
                  <a:ext cx="145256" cy="125221"/>
                </a:xfrm>
                <a:prstGeom prst="triangle">
                  <a:avLst/>
                </a:prstGeom>
                <a:grpFill/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237" name="Gleichschenkliges Dreieck 236"/>
                <p:cNvSpPr/>
                <p:nvPr/>
              </p:nvSpPr>
              <p:spPr bwMode="auto">
                <a:xfrm rot="12600000">
                  <a:off x="4033371" y="4750107"/>
                  <a:ext cx="145256" cy="125221"/>
                </a:xfrm>
                <a:prstGeom prst="triangle">
                  <a:avLst/>
                </a:prstGeom>
                <a:grpFill/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238" name="Gleichschenkliges Dreieck 237"/>
                <p:cNvSpPr/>
                <p:nvPr/>
              </p:nvSpPr>
              <p:spPr bwMode="auto">
                <a:xfrm rot="12600000">
                  <a:off x="4158242" y="4748689"/>
                  <a:ext cx="145256" cy="125221"/>
                </a:xfrm>
                <a:prstGeom prst="triangle">
                  <a:avLst/>
                </a:prstGeom>
                <a:grpFill/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</p:grpSp>
          <p:grpSp>
            <p:nvGrpSpPr>
              <p:cNvPr id="180" name="Gruppieren 179"/>
              <p:cNvGrpSpPr/>
              <p:nvPr>
                <p:custDataLst>
                  <p:tags r:id="rId64"/>
                </p:custDataLst>
              </p:nvPr>
            </p:nvGrpSpPr>
            <p:grpSpPr>
              <a:xfrm>
                <a:off x="2243849" y="2316321"/>
                <a:ext cx="450227" cy="364493"/>
                <a:chOff x="3398519" y="1714500"/>
                <a:chExt cx="621214" cy="502920"/>
              </a:xfrm>
              <a:solidFill>
                <a:srgbClr val="0050A6">
                  <a:lumMod val="20000"/>
                  <a:lumOff val="80000"/>
                </a:srgbClr>
              </a:solidFill>
            </p:grpSpPr>
            <p:sp>
              <p:nvSpPr>
                <p:cNvPr id="232" name="Rechteck 231"/>
                <p:cNvSpPr/>
                <p:nvPr/>
              </p:nvSpPr>
              <p:spPr bwMode="auto">
                <a:xfrm>
                  <a:off x="3541451" y="1931508"/>
                  <a:ext cx="478282" cy="285912"/>
                </a:xfrm>
                <a:prstGeom prst="rect">
                  <a:avLst/>
                </a:prstGeom>
                <a:grpFill/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233" name="Freihandform 232"/>
                <p:cNvSpPr/>
                <p:nvPr/>
              </p:nvSpPr>
              <p:spPr bwMode="auto">
                <a:xfrm>
                  <a:off x="3398519" y="1714500"/>
                  <a:ext cx="335282" cy="502920"/>
                </a:xfrm>
                <a:custGeom>
                  <a:avLst/>
                  <a:gdLst>
                    <a:gd name="connsiteX0" fmla="*/ 7620 w 350520"/>
                    <a:gd name="connsiteY0" fmla="*/ 0 h 502920"/>
                    <a:gd name="connsiteX1" fmla="*/ 350520 w 350520"/>
                    <a:gd name="connsiteY1" fmla="*/ 0 h 502920"/>
                    <a:gd name="connsiteX2" fmla="*/ 350520 w 350520"/>
                    <a:gd name="connsiteY2" fmla="*/ 502920 h 502920"/>
                    <a:gd name="connsiteX3" fmla="*/ 0 w 350520"/>
                    <a:gd name="connsiteY3" fmla="*/ 502920 h 502920"/>
                    <a:gd name="connsiteX4" fmla="*/ 7620 w 350520"/>
                    <a:gd name="connsiteY4" fmla="*/ 0 h 502920"/>
                    <a:gd name="connsiteX0" fmla="*/ 0 w 342900"/>
                    <a:gd name="connsiteY0" fmla="*/ 0 h 502920"/>
                    <a:gd name="connsiteX1" fmla="*/ 342900 w 342900"/>
                    <a:gd name="connsiteY1" fmla="*/ 0 h 502920"/>
                    <a:gd name="connsiteX2" fmla="*/ 342900 w 342900"/>
                    <a:gd name="connsiteY2" fmla="*/ 502920 h 502920"/>
                    <a:gd name="connsiteX3" fmla="*/ 7620 w 342900"/>
                    <a:gd name="connsiteY3" fmla="*/ 502920 h 502920"/>
                    <a:gd name="connsiteX4" fmla="*/ 0 w 342900"/>
                    <a:gd name="connsiteY4" fmla="*/ 0 h 502920"/>
                    <a:gd name="connsiteX0" fmla="*/ 0 w 342900"/>
                    <a:gd name="connsiteY0" fmla="*/ 0 h 502920"/>
                    <a:gd name="connsiteX1" fmla="*/ 342900 w 342900"/>
                    <a:gd name="connsiteY1" fmla="*/ 0 h 502920"/>
                    <a:gd name="connsiteX2" fmla="*/ 342900 w 342900"/>
                    <a:gd name="connsiteY2" fmla="*/ 502920 h 502920"/>
                    <a:gd name="connsiteX3" fmla="*/ 7620 w 342900"/>
                    <a:gd name="connsiteY3" fmla="*/ 502920 h 502920"/>
                    <a:gd name="connsiteX4" fmla="*/ 7620 w 342900"/>
                    <a:gd name="connsiteY4" fmla="*/ 236220 h 502920"/>
                    <a:gd name="connsiteX5" fmla="*/ 0 w 342900"/>
                    <a:gd name="connsiteY5" fmla="*/ 0 h 502920"/>
                    <a:gd name="connsiteX0" fmla="*/ 0 w 342900"/>
                    <a:gd name="connsiteY0" fmla="*/ 0 h 502920"/>
                    <a:gd name="connsiteX1" fmla="*/ 342900 w 342900"/>
                    <a:gd name="connsiteY1" fmla="*/ 0 h 502920"/>
                    <a:gd name="connsiteX2" fmla="*/ 342900 w 342900"/>
                    <a:gd name="connsiteY2" fmla="*/ 502920 h 502920"/>
                    <a:gd name="connsiteX3" fmla="*/ 7620 w 342900"/>
                    <a:gd name="connsiteY3" fmla="*/ 502920 h 502920"/>
                    <a:gd name="connsiteX4" fmla="*/ 83820 w 342900"/>
                    <a:gd name="connsiteY4" fmla="*/ 243840 h 502920"/>
                    <a:gd name="connsiteX5" fmla="*/ 0 w 342900"/>
                    <a:gd name="connsiteY5" fmla="*/ 0 h 502920"/>
                    <a:gd name="connsiteX0" fmla="*/ 0 w 342900"/>
                    <a:gd name="connsiteY0" fmla="*/ 0 h 502920"/>
                    <a:gd name="connsiteX1" fmla="*/ 342900 w 342900"/>
                    <a:gd name="connsiteY1" fmla="*/ 0 h 502920"/>
                    <a:gd name="connsiteX2" fmla="*/ 335280 w 342900"/>
                    <a:gd name="connsiteY2" fmla="*/ 259080 h 502920"/>
                    <a:gd name="connsiteX3" fmla="*/ 342900 w 342900"/>
                    <a:gd name="connsiteY3" fmla="*/ 502920 h 502920"/>
                    <a:gd name="connsiteX4" fmla="*/ 7620 w 342900"/>
                    <a:gd name="connsiteY4" fmla="*/ 502920 h 502920"/>
                    <a:gd name="connsiteX5" fmla="*/ 83820 w 342900"/>
                    <a:gd name="connsiteY5" fmla="*/ 243840 h 502920"/>
                    <a:gd name="connsiteX6" fmla="*/ 0 w 342900"/>
                    <a:gd name="connsiteY6" fmla="*/ 0 h 502920"/>
                    <a:gd name="connsiteX0" fmla="*/ 0 w 342900"/>
                    <a:gd name="connsiteY0" fmla="*/ 0 h 502920"/>
                    <a:gd name="connsiteX1" fmla="*/ 342900 w 342900"/>
                    <a:gd name="connsiteY1" fmla="*/ 0 h 502920"/>
                    <a:gd name="connsiteX2" fmla="*/ 251460 w 342900"/>
                    <a:gd name="connsiteY2" fmla="*/ 259080 h 502920"/>
                    <a:gd name="connsiteX3" fmla="*/ 342900 w 342900"/>
                    <a:gd name="connsiteY3" fmla="*/ 502920 h 502920"/>
                    <a:gd name="connsiteX4" fmla="*/ 7620 w 342900"/>
                    <a:gd name="connsiteY4" fmla="*/ 502920 h 502920"/>
                    <a:gd name="connsiteX5" fmla="*/ 83820 w 342900"/>
                    <a:gd name="connsiteY5" fmla="*/ 243840 h 502920"/>
                    <a:gd name="connsiteX6" fmla="*/ 0 w 342900"/>
                    <a:gd name="connsiteY6" fmla="*/ 0 h 502920"/>
                    <a:gd name="connsiteX0" fmla="*/ 0 w 351050"/>
                    <a:gd name="connsiteY0" fmla="*/ 0 h 502920"/>
                    <a:gd name="connsiteX1" fmla="*/ 342900 w 351050"/>
                    <a:gd name="connsiteY1" fmla="*/ 0 h 502920"/>
                    <a:gd name="connsiteX2" fmla="*/ 251460 w 351050"/>
                    <a:gd name="connsiteY2" fmla="*/ 259080 h 502920"/>
                    <a:gd name="connsiteX3" fmla="*/ 342900 w 351050"/>
                    <a:gd name="connsiteY3" fmla="*/ 502920 h 502920"/>
                    <a:gd name="connsiteX4" fmla="*/ 7620 w 351050"/>
                    <a:gd name="connsiteY4" fmla="*/ 502920 h 502920"/>
                    <a:gd name="connsiteX5" fmla="*/ 83820 w 351050"/>
                    <a:gd name="connsiteY5" fmla="*/ 243840 h 502920"/>
                    <a:gd name="connsiteX6" fmla="*/ 0 w 351050"/>
                    <a:gd name="connsiteY6" fmla="*/ 0 h 502920"/>
                    <a:gd name="connsiteX0" fmla="*/ 9024 w 360074"/>
                    <a:gd name="connsiteY0" fmla="*/ 0 h 502920"/>
                    <a:gd name="connsiteX1" fmla="*/ 351924 w 360074"/>
                    <a:gd name="connsiteY1" fmla="*/ 0 h 502920"/>
                    <a:gd name="connsiteX2" fmla="*/ 260484 w 360074"/>
                    <a:gd name="connsiteY2" fmla="*/ 259080 h 502920"/>
                    <a:gd name="connsiteX3" fmla="*/ 351924 w 360074"/>
                    <a:gd name="connsiteY3" fmla="*/ 502920 h 502920"/>
                    <a:gd name="connsiteX4" fmla="*/ 16644 w 360074"/>
                    <a:gd name="connsiteY4" fmla="*/ 502920 h 502920"/>
                    <a:gd name="connsiteX5" fmla="*/ 92844 w 360074"/>
                    <a:gd name="connsiteY5" fmla="*/ 243840 h 502920"/>
                    <a:gd name="connsiteX6" fmla="*/ 9024 w 360074"/>
                    <a:gd name="connsiteY6" fmla="*/ 0 h 502920"/>
                    <a:gd name="connsiteX0" fmla="*/ 9024 w 359690"/>
                    <a:gd name="connsiteY0" fmla="*/ 0 h 502920"/>
                    <a:gd name="connsiteX1" fmla="*/ 351924 w 359690"/>
                    <a:gd name="connsiteY1" fmla="*/ 0 h 502920"/>
                    <a:gd name="connsiteX2" fmla="*/ 260484 w 359690"/>
                    <a:gd name="connsiteY2" fmla="*/ 259080 h 502920"/>
                    <a:gd name="connsiteX3" fmla="*/ 351924 w 359690"/>
                    <a:gd name="connsiteY3" fmla="*/ 502920 h 502920"/>
                    <a:gd name="connsiteX4" fmla="*/ 16644 w 359690"/>
                    <a:gd name="connsiteY4" fmla="*/ 502920 h 502920"/>
                    <a:gd name="connsiteX5" fmla="*/ 92844 w 359690"/>
                    <a:gd name="connsiteY5" fmla="*/ 243840 h 502920"/>
                    <a:gd name="connsiteX6" fmla="*/ 9024 w 359690"/>
                    <a:gd name="connsiteY6" fmla="*/ 0 h 502920"/>
                    <a:gd name="connsiteX0" fmla="*/ 9024 w 351924"/>
                    <a:gd name="connsiteY0" fmla="*/ 0 h 502920"/>
                    <a:gd name="connsiteX1" fmla="*/ 351924 w 351924"/>
                    <a:gd name="connsiteY1" fmla="*/ 0 h 502920"/>
                    <a:gd name="connsiteX2" fmla="*/ 260484 w 351924"/>
                    <a:gd name="connsiteY2" fmla="*/ 259080 h 502920"/>
                    <a:gd name="connsiteX3" fmla="*/ 351924 w 351924"/>
                    <a:gd name="connsiteY3" fmla="*/ 502920 h 502920"/>
                    <a:gd name="connsiteX4" fmla="*/ 16644 w 351924"/>
                    <a:gd name="connsiteY4" fmla="*/ 502920 h 502920"/>
                    <a:gd name="connsiteX5" fmla="*/ 92844 w 351924"/>
                    <a:gd name="connsiteY5" fmla="*/ 243840 h 502920"/>
                    <a:gd name="connsiteX6" fmla="*/ 9024 w 351924"/>
                    <a:gd name="connsiteY6" fmla="*/ 0 h 502920"/>
                    <a:gd name="connsiteX0" fmla="*/ 9024 w 351924"/>
                    <a:gd name="connsiteY0" fmla="*/ 0 h 502920"/>
                    <a:gd name="connsiteX1" fmla="*/ 351924 w 351924"/>
                    <a:gd name="connsiteY1" fmla="*/ 0 h 502920"/>
                    <a:gd name="connsiteX2" fmla="*/ 291441 w 351924"/>
                    <a:gd name="connsiteY2" fmla="*/ 249555 h 502920"/>
                    <a:gd name="connsiteX3" fmla="*/ 351924 w 351924"/>
                    <a:gd name="connsiteY3" fmla="*/ 502920 h 502920"/>
                    <a:gd name="connsiteX4" fmla="*/ 16644 w 351924"/>
                    <a:gd name="connsiteY4" fmla="*/ 502920 h 502920"/>
                    <a:gd name="connsiteX5" fmla="*/ 92844 w 351924"/>
                    <a:gd name="connsiteY5" fmla="*/ 243840 h 502920"/>
                    <a:gd name="connsiteX6" fmla="*/ 9024 w 351924"/>
                    <a:gd name="connsiteY6" fmla="*/ 0 h 502920"/>
                    <a:gd name="connsiteX0" fmla="*/ 1719 w 344619"/>
                    <a:gd name="connsiteY0" fmla="*/ 0 h 502920"/>
                    <a:gd name="connsiteX1" fmla="*/ 344619 w 344619"/>
                    <a:gd name="connsiteY1" fmla="*/ 0 h 502920"/>
                    <a:gd name="connsiteX2" fmla="*/ 284136 w 344619"/>
                    <a:gd name="connsiteY2" fmla="*/ 249555 h 502920"/>
                    <a:gd name="connsiteX3" fmla="*/ 344619 w 344619"/>
                    <a:gd name="connsiteY3" fmla="*/ 502920 h 502920"/>
                    <a:gd name="connsiteX4" fmla="*/ 9339 w 344619"/>
                    <a:gd name="connsiteY4" fmla="*/ 502920 h 502920"/>
                    <a:gd name="connsiteX5" fmla="*/ 85539 w 344619"/>
                    <a:gd name="connsiteY5" fmla="*/ 243840 h 502920"/>
                    <a:gd name="connsiteX6" fmla="*/ 1719 w 344619"/>
                    <a:gd name="connsiteY6" fmla="*/ 0 h 502920"/>
                    <a:gd name="connsiteX0" fmla="*/ 0 w 342900"/>
                    <a:gd name="connsiteY0" fmla="*/ 0 h 502920"/>
                    <a:gd name="connsiteX1" fmla="*/ 342900 w 342900"/>
                    <a:gd name="connsiteY1" fmla="*/ 0 h 502920"/>
                    <a:gd name="connsiteX2" fmla="*/ 282417 w 342900"/>
                    <a:gd name="connsiteY2" fmla="*/ 249555 h 502920"/>
                    <a:gd name="connsiteX3" fmla="*/ 342900 w 342900"/>
                    <a:gd name="connsiteY3" fmla="*/ 502920 h 502920"/>
                    <a:gd name="connsiteX4" fmla="*/ 7620 w 342900"/>
                    <a:gd name="connsiteY4" fmla="*/ 502920 h 502920"/>
                    <a:gd name="connsiteX5" fmla="*/ 83820 w 342900"/>
                    <a:gd name="connsiteY5" fmla="*/ 243840 h 502920"/>
                    <a:gd name="connsiteX6" fmla="*/ 0 w 342900"/>
                    <a:gd name="connsiteY6" fmla="*/ 0 h 502920"/>
                    <a:gd name="connsiteX0" fmla="*/ 0 w 342900"/>
                    <a:gd name="connsiteY0" fmla="*/ 0 h 502920"/>
                    <a:gd name="connsiteX1" fmla="*/ 342900 w 342900"/>
                    <a:gd name="connsiteY1" fmla="*/ 0 h 502920"/>
                    <a:gd name="connsiteX2" fmla="*/ 282417 w 342900"/>
                    <a:gd name="connsiteY2" fmla="*/ 249555 h 502920"/>
                    <a:gd name="connsiteX3" fmla="*/ 342900 w 342900"/>
                    <a:gd name="connsiteY3" fmla="*/ 502920 h 502920"/>
                    <a:gd name="connsiteX4" fmla="*/ 7620 w 342900"/>
                    <a:gd name="connsiteY4" fmla="*/ 502920 h 502920"/>
                    <a:gd name="connsiteX5" fmla="*/ 62389 w 342900"/>
                    <a:gd name="connsiteY5" fmla="*/ 253365 h 502920"/>
                    <a:gd name="connsiteX6" fmla="*/ 0 w 342900"/>
                    <a:gd name="connsiteY6" fmla="*/ 0 h 502920"/>
                    <a:gd name="connsiteX0" fmla="*/ 0 w 342900"/>
                    <a:gd name="connsiteY0" fmla="*/ 0 h 502920"/>
                    <a:gd name="connsiteX1" fmla="*/ 326231 w 342900"/>
                    <a:gd name="connsiteY1" fmla="*/ 0 h 502920"/>
                    <a:gd name="connsiteX2" fmla="*/ 282417 w 342900"/>
                    <a:gd name="connsiteY2" fmla="*/ 249555 h 502920"/>
                    <a:gd name="connsiteX3" fmla="*/ 342900 w 342900"/>
                    <a:gd name="connsiteY3" fmla="*/ 502920 h 502920"/>
                    <a:gd name="connsiteX4" fmla="*/ 7620 w 342900"/>
                    <a:gd name="connsiteY4" fmla="*/ 502920 h 502920"/>
                    <a:gd name="connsiteX5" fmla="*/ 62389 w 342900"/>
                    <a:gd name="connsiteY5" fmla="*/ 253365 h 502920"/>
                    <a:gd name="connsiteX6" fmla="*/ 0 w 342900"/>
                    <a:gd name="connsiteY6" fmla="*/ 0 h 502920"/>
                    <a:gd name="connsiteX0" fmla="*/ 16195 w 335282"/>
                    <a:gd name="connsiteY0" fmla="*/ 0 h 502920"/>
                    <a:gd name="connsiteX1" fmla="*/ 318613 w 335282"/>
                    <a:gd name="connsiteY1" fmla="*/ 0 h 502920"/>
                    <a:gd name="connsiteX2" fmla="*/ 274799 w 335282"/>
                    <a:gd name="connsiteY2" fmla="*/ 249555 h 502920"/>
                    <a:gd name="connsiteX3" fmla="*/ 335282 w 335282"/>
                    <a:gd name="connsiteY3" fmla="*/ 502920 h 502920"/>
                    <a:gd name="connsiteX4" fmla="*/ 2 w 335282"/>
                    <a:gd name="connsiteY4" fmla="*/ 502920 h 502920"/>
                    <a:gd name="connsiteX5" fmla="*/ 54771 w 335282"/>
                    <a:gd name="connsiteY5" fmla="*/ 253365 h 502920"/>
                    <a:gd name="connsiteX6" fmla="*/ 16195 w 335282"/>
                    <a:gd name="connsiteY6" fmla="*/ 0 h 5029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35282" h="502920">
                      <a:moveTo>
                        <a:pt x="16195" y="0"/>
                      </a:moveTo>
                      <a:lnTo>
                        <a:pt x="318613" y="0"/>
                      </a:lnTo>
                      <a:cubicBezTo>
                        <a:pt x="312898" y="83661"/>
                        <a:pt x="272021" y="165735"/>
                        <a:pt x="274799" y="249555"/>
                      </a:cubicBezTo>
                      <a:cubicBezTo>
                        <a:pt x="277577" y="333375"/>
                        <a:pt x="333060" y="443230"/>
                        <a:pt x="335282" y="502920"/>
                      </a:cubicBezTo>
                      <a:lnTo>
                        <a:pt x="2" y="502920"/>
                      </a:lnTo>
                      <a:cubicBezTo>
                        <a:pt x="-316" y="445453"/>
                        <a:pt x="52072" y="337185"/>
                        <a:pt x="54771" y="253365"/>
                      </a:cubicBezTo>
                      <a:cubicBezTo>
                        <a:pt x="57470" y="169545"/>
                        <a:pt x="20640" y="69215"/>
                        <a:pt x="16195" y="0"/>
                      </a:cubicBezTo>
                      <a:close/>
                    </a:path>
                  </a:pathLst>
                </a:custGeom>
                <a:grpFill/>
                <a:ln w="6350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</p:grpSp>
          <p:grpSp>
            <p:nvGrpSpPr>
              <p:cNvPr id="181" name="Gruppieren 180"/>
              <p:cNvGrpSpPr/>
              <p:nvPr>
                <p:custDataLst>
                  <p:tags r:id="rId65"/>
                </p:custDataLst>
              </p:nvPr>
            </p:nvGrpSpPr>
            <p:grpSpPr>
              <a:xfrm>
                <a:off x="2478415" y="4614924"/>
                <a:ext cx="275208" cy="296347"/>
                <a:chOff x="3915054" y="4722296"/>
                <a:chExt cx="275208" cy="296347"/>
              </a:xfrm>
              <a:solidFill>
                <a:srgbClr val="3D67AE"/>
              </a:solidFill>
            </p:grpSpPr>
            <p:sp>
              <p:nvSpPr>
                <p:cNvPr id="229" name="Rechteck 228"/>
                <p:cNvSpPr/>
                <p:nvPr/>
              </p:nvSpPr>
              <p:spPr bwMode="auto">
                <a:xfrm>
                  <a:off x="3981181" y="4889500"/>
                  <a:ext cx="142955" cy="129143"/>
                </a:xfrm>
                <a:prstGeom prst="rect">
                  <a:avLst/>
                </a:prstGeom>
                <a:grpFill/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230" name="Gleichschenkliges Dreieck 229"/>
                <p:cNvSpPr/>
                <p:nvPr/>
              </p:nvSpPr>
              <p:spPr bwMode="auto">
                <a:xfrm>
                  <a:off x="3915054" y="4729902"/>
                  <a:ext cx="275208" cy="159598"/>
                </a:xfrm>
                <a:prstGeom prst="triangle">
                  <a:avLst/>
                </a:prstGeom>
                <a:grpFill/>
                <a:ln w="6350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231" name="Rechteck 230"/>
                <p:cNvSpPr/>
                <p:nvPr/>
              </p:nvSpPr>
              <p:spPr bwMode="auto">
                <a:xfrm>
                  <a:off x="4086241" y="4722296"/>
                  <a:ext cx="45719" cy="129143"/>
                </a:xfrm>
                <a:prstGeom prst="rect">
                  <a:avLst/>
                </a:prstGeom>
                <a:grpFill/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</p:grpSp>
          <p:grpSp>
            <p:nvGrpSpPr>
              <p:cNvPr id="182" name="Gruppieren 181"/>
              <p:cNvGrpSpPr/>
              <p:nvPr>
                <p:custDataLst>
                  <p:tags r:id="rId66"/>
                </p:custDataLst>
              </p:nvPr>
            </p:nvGrpSpPr>
            <p:grpSpPr>
              <a:xfrm>
                <a:off x="1521044" y="4614924"/>
                <a:ext cx="275208" cy="296347"/>
                <a:chOff x="3915054" y="4722296"/>
                <a:chExt cx="275208" cy="296347"/>
              </a:xfrm>
              <a:solidFill>
                <a:srgbClr val="3D67AE"/>
              </a:solidFill>
            </p:grpSpPr>
            <p:sp>
              <p:nvSpPr>
                <p:cNvPr id="226" name="Rechteck 225"/>
                <p:cNvSpPr/>
                <p:nvPr/>
              </p:nvSpPr>
              <p:spPr bwMode="auto">
                <a:xfrm>
                  <a:off x="3981181" y="4889500"/>
                  <a:ext cx="142955" cy="129143"/>
                </a:xfrm>
                <a:prstGeom prst="rect">
                  <a:avLst/>
                </a:prstGeom>
                <a:grpFill/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227" name="Gleichschenkliges Dreieck 226"/>
                <p:cNvSpPr/>
                <p:nvPr/>
              </p:nvSpPr>
              <p:spPr bwMode="auto">
                <a:xfrm>
                  <a:off x="3915054" y="4729902"/>
                  <a:ext cx="275208" cy="159598"/>
                </a:xfrm>
                <a:prstGeom prst="triangle">
                  <a:avLst/>
                </a:prstGeom>
                <a:grpFill/>
                <a:ln w="6350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228" name="Rechteck 227"/>
                <p:cNvSpPr/>
                <p:nvPr/>
              </p:nvSpPr>
              <p:spPr bwMode="auto">
                <a:xfrm>
                  <a:off x="4086241" y="4722296"/>
                  <a:ext cx="45719" cy="129143"/>
                </a:xfrm>
                <a:prstGeom prst="rect">
                  <a:avLst/>
                </a:prstGeom>
                <a:grpFill/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</p:grpSp>
          <p:grpSp>
            <p:nvGrpSpPr>
              <p:cNvPr id="183" name="Gruppieren 182"/>
              <p:cNvGrpSpPr/>
              <p:nvPr>
                <p:custDataLst>
                  <p:tags r:id="rId67"/>
                </p:custDataLst>
              </p:nvPr>
            </p:nvGrpSpPr>
            <p:grpSpPr>
              <a:xfrm>
                <a:off x="563673" y="4614924"/>
                <a:ext cx="275208" cy="296347"/>
                <a:chOff x="3915054" y="4722296"/>
                <a:chExt cx="275208" cy="296347"/>
              </a:xfrm>
              <a:solidFill>
                <a:srgbClr val="3D67AE"/>
              </a:solidFill>
            </p:grpSpPr>
            <p:sp>
              <p:nvSpPr>
                <p:cNvPr id="223" name="Rechteck 222"/>
                <p:cNvSpPr/>
                <p:nvPr/>
              </p:nvSpPr>
              <p:spPr bwMode="auto">
                <a:xfrm>
                  <a:off x="3981181" y="4889500"/>
                  <a:ext cx="142955" cy="129143"/>
                </a:xfrm>
                <a:prstGeom prst="rect">
                  <a:avLst/>
                </a:prstGeom>
                <a:grpFill/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224" name="Gleichschenkliges Dreieck 223"/>
                <p:cNvSpPr/>
                <p:nvPr/>
              </p:nvSpPr>
              <p:spPr bwMode="auto">
                <a:xfrm>
                  <a:off x="3915054" y="4729902"/>
                  <a:ext cx="275208" cy="159598"/>
                </a:xfrm>
                <a:prstGeom prst="triangle">
                  <a:avLst/>
                </a:prstGeom>
                <a:grpFill/>
                <a:ln w="6350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225" name="Rechteck 224"/>
                <p:cNvSpPr/>
                <p:nvPr/>
              </p:nvSpPr>
              <p:spPr bwMode="auto">
                <a:xfrm>
                  <a:off x="4086241" y="4722296"/>
                  <a:ext cx="45719" cy="129143"/>
                </a:xfrm>
                <a:prstGeom prst="rect">
                  <a:avLst/>
                </a:prstGeom>
                <a:grpFill/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</p:grpSp>
          <p:grpSp>
            <p:nvGrpSpPr>
              <p:cNvPr id="184" name="Gruppieren 183"/>
              <p:cNvGrpSpPr/>
              <p:nvPr>
                <p:custDataLst>
                  <p:tags r:id="rId68"/>
                </p:custDataLst>
              </p:nvPr>
            </p:nvGrpSpPr>
            <p:grpSpPr>
              <a:xfrm>
                <a:off x="3369895" y="3401539"/>
                <a:ext cx="348203" cy="327506"/>
                <a:chOff x="3976870" y="4597329"/>
                <a:chExt cx="348203" cy="327506"/>
              </a:xfrm>
              <a:solidFill>
                <a:srgbClr val="3D67AE"/>
              </a:solidFill>
            </p:grpSpPr>
            <p:sp>
              <p:nvSpPr>
                <p:cNvPr id="219" name="Rechteck 218"/>
                <p:cNvSpPr/>
                <p:nvPr/>
              </p:nvSpPr>
              <p:spPr bwMode="auto">
                <a:xfrm>
                  <a:off x="4027703" y="4795691"/>
                  <a:ext cx="297370" cy="129143"/>
                </a:xfrm>
                <a:prstGeom prst="rect">
                  <a:avLst/>
                </a:prstGeom>
                <a:grpFill/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220" name="Rechteck 219"/>
                <p:cNvSpPr/>
                <p:nvPr/>
              </p:nvSpPr>
              <p:spPr bwMode="auto">
                <a:xfrm>
                  <a:off x="3976870" y="4597329"/>
                  <a:ext cx="80780" cy="327506"/>
                </a:xfrm>
                <a:prstGeom prst="rect">
                  <a:avLst/>
                </a:prstGeom>
                <a:grpFill/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221" name="Gleichschenkliges Dreieck 220"/>
                <p:cNvSpPr/>
                <p:nvPr/>
              </p:nvSpPr>
              <p:spPr bwMode="auto">
                <a:xfrm rot="12600000">
                  <a:off x="4033371" y="4750107"/>
                  <a:ext cx="145256" cy="125221"/>
                </a:xfrm>
                <a:prstGeom prst="triangle">
                  <a:avLst/>
                </a:prstGeom>
                <a:grpFill/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222" name="Gleichschenkliges Dreieck 221"/>
                <p:cNvSpPr/>
                <p:nvPr/>
              </p:nvSpPr>
              <p:spPr bwMode="auto">
                <a:xfrm rot="12600000">
                  <a:off x="4158242" y="4748689"/>
                  <a:ext cx="145256" cy="125221"/>
                </a:xfrm>
                <a:prstGeom prst="triangle">
                  <a:avLst/>
                </a:prstGeom>
                <a:grpFill/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</p:grpSp>
          <p:grpSp>
            <p:nvGrpSpPr>
              <p:cNvPr id="185" name="Gruppieren 47"/>
              <p:cNvGrpSpPr>
                <a:grpSpLocks/>
              </p:cNvGrpSpPr>
              <p:nvPr>
                <p:custDataLst>
                  <p:tags r:id="rId69"/>
                </p:custDataLst>
              </p:nvPr>
            </p:nvGrpSpPr>
            <p:grpSpPr bwMode="auto">
              <a:xfrm>
                <a:off x="2285473" y="4331741"/>
                <a:ext cx="665202" cy="366503"/>
                <a:chOff x="1087727" y="4216327"/>
                <a:chExt cx="665202" cy="366503"/>
              </a:xfrm>
            </p:grpSpPr>
            <p:sp>
              <p:nvSpPr>
                <p:cNvPr id="216" name="Line 84"/>
                <p:cNvSpPr>
                  <a:spLocks noChangeShapeType="1"/>
                </p:cNvSpPr>
                <p:nvPr/>
              </p:nvSpPr>
              <p:spPr bwMode="gray">
                <a:xfrm>
                  <a:off x="1087814" y="4216695"/>
                  <a:ext cx="665479" cy="0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217" name="Line 72"/>
                <p:cNvSpPr>
                  <a:spLocks noChangeShapeType="1"/>
                </p:cNvSpPr>
                <p:nvPr/>
              </p:nvSpPr>
              <p:spPr bwMode="gray">
                <a:xfrm>
                  <a:off x="1243254" y="4223193"/>
                  <a:ext cx="0" cy="359186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218" name="Line 72"/>
                <p:cNvSpPr>
                  <a:spLocks noChangeShapeType="1"/>
                </p:cNvSpPr>
                <p:nvPr/>
              </p:nvSpPr>
              <p:spPr bwMode="gray">
                <a:xfrm>
                  <a:off x="1597853" y="4223193"/>
                  <a:ext cx="0" cy="359186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</p:grpSp>
          <p:grpSp>
            <p:nvGrpSpPr>
              <p:cNvPr id="186" name="Gruppieren 48"/>
              <p:cNvGrpSpPr>
                <a:grpSpLocks/>
              </p:cNvGrpSpPr>
              <p:nvPr>
                <p:custDataLst>
                  <p:tags r:id="rId70"/>
                </p:custDataLst>
              </p:nvPr>
            </p:nvGrpSpPr>
            <p:grpSpPr bwMode="auto">
              <a:xfrm>
                <a:off x="3242800" y="4331741"/>
                <a:ext cx="665202" cy="366503"/>
                <a:chOff x="1087727" y="4216327"/>
                <a:chExt cx="665202" cy="366503"/>
              </a:xfrm>
            </p:grpSpPr>
            <p:sp>
              <p:nvSpPr>
                <p:cNvPr id="213" name="Line 84"/>
                <p:cNvSpPr>
                  <a:spLocks noChangeShapeType="1"/>
                </p:cNvSpPr>
                <p:nvPr/>
              </p:nvSpPr>
              <p:spPr bwMode="gray">
                <a:xfrm>
                  <a:off x="1087417" y="4216695"/>
                  <a:ext cx="665480" cy="0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214" name="Line 72"/>
                <p:cNvSpPr>
                  <a:spLocks noChangeShapeType="1"/>
                </p:cNvSpPr>
                <p:nvPr/>
              </p:nvSpPr>
              <p:spPr bwMode="gray">
                <a:xfrm>
                  <a:off x="1242857" y="4223193"/>
                  <a:ext cx="0" cy="359186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215" name="Line 72"/>
                <p:cNvSpPr>
                  <a:spLocks noChangeShapeType="1"/>
                </p:cNvSpPr>
                <p:nvPr/>
              </p:nvSpPr>
              <p:spPr bwMode="gray">
                <a:xfrm>
                  <a:off x="1597456" y="4223193"/>
                  <a:ext cx="0" cy="359186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</p:grpSp>
          <p:grpSp>
            <p:nvGrpSpPr>
              <p:cNvPr id="187" name="Gruppieren 49"/>
              <p:cNvGrpSpPr>
                <a:grpSpLocks/>
              </p:cNvGrpSpPr>
              <p:nvPr>
                <p:custDataLst>
                  <p:tags r:id="rId71"/>
                </p:custDataLst>
              </p:nvPr>
            </p:nvGrpSpPr>
            <p:grpSpPr bwMode="auto">
              <a:xfrm>
                <a:off x="372671" y="4331741"/>
                <a:ext cx="665202" cy="366503"/>
                <a:chOff x="1087727" y="4216327"/>
                <a:chExt cx="665202" cy="366503"/>
              </a:xfrm>
            </p:grpSpPr>
            <p:sp>
              <p:nvSpPr>
                <p:cNvPr id="210" name="Line 84"/>
                <p:cNvSpPr>
                  <a:spLocks noChangeShapeType="1"/>
                </p:cNvSpPr>
                <p:nvPr/>
              </p:nvSpPr>
              <p:spPr bwMode="gray">
                <a:xfrm>
                  <a:off x="1087727" y="4216695"/>
                  <a:ext cx="665480" cy="0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211" name="Line 72"/>
                <p:cNvSpPr>
                  <a:spLocks noChangeShapeType="1"/>
                </p:cNvSpPr>
                <p:nvPr/>
              </p:nvSpPr>
              <p:spPr bwMode="gray">
                <a:xfrm>
                  <a:off x="1243167" y="4223193"/>
                  <a:ext cx="0" cy="359186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212" name="Line 72"/>
                <p:cNvSpPr>
                  <a:spLocks noChangeShapeType="1"/>
                </p:cNvSpPr>
                <p:nvPr/>
              </p:nvSpPr>
              <p:spPr bwMode="gray">
                <a:xfrm>
                  <a:off x="1597766" y="4223193"/>
                  <a:ext cx="0" cy="359186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</p:grpSp>
          <p:sp>
            <p:nvSpPr>
              <p:cNvPr id="188" name="Line 84"/>
              <p:cNvSpPr>
                <a:spLocks noChangeShapeType="1"/>
              </p:cNvSpPr>
              <p:nvPr>
                <p:custDataLst>
                  <p:tags r:id="rId72"/>
                </p:custDataLst>
              </p:nvPr>
            </p:nvSpPr>
            <p:spPr bwMode="gray">
              <a:xfrm>
                <a:off x="1254795" y="3262902"/>
                <a:ext cx="1775907" cy="0"/>
              </a:xfrm>
              <a:prstGeom prst="line">
                <a:avLst/>
              </a:prstGeom>
              <a:noFill/>
              <a:ln w="1905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fontAlgn="auto">
                  <a:spcBef>
                    <a:spcPts val="0"/>
                  </a:spcBef>
                  <a:spcAft>
                    <a:spcPct val="100000"/>
                  </a:spcAft>
                  <a:buClr>
                    <a:srgbClr val="0050A6"/>
                  </a:buClr>
                  <a:buFont typeface="Arial" pitchFamily="34" charset="0"/>
                  <a:buNone/>
                  <a:defRPr/>
                </a:pPr>
                <a:endParaRPr lang="de-DE" kern="0" dirty="0">
                  <a:solidFill>
                    <a:srgbClr val="000000"/>
                  </a:solidFill>
                  <a:latin typeface="Calibri" panose="020F0502020204030204" pitchFamily="34" charset="0"/>
                  <a:cs typeface="Arial"/>
                </a:endParaRPr>
              </a:p>
            </p:txBody>
          </p:sp>
          <p:grpSp>
            <p:nvGrpSpPr>
              <p:cNvPr id="189" name="Group 6"/>
              <p:cNvGrpSpPr>
                <a:grpSpLocks/>
              </p:cNvGrpSpPr>
              <p:nvPr>
                <p:custDataLst>
                  <p:tags r:id="rId73"/>
                </p:custDataLst>
              </p:nvPr>
            </p:nvGrpSpPr>
            <p:grpSpPr bwMode="auto">
              <a:xfrm>
                <a:off x="2726750" y="3263501"/>
                <a:ext cx="176253" cy="529795"/>
                <a:chOff x="782" y="1139"/>
                <a:chExt cx="170" cy="511"/>
              </a:xfrm>
            </p:grpSpPr>
            <p:sp>
              <p:nvSpPr>
                <p:cNvPr id="206" name="Oval 7"/>
                <p:cNvSpPr>
                  <a:spLocks noChangeArrowheads="1"/>
                </p:cNvSpPr>
                <p:nvPr/>
              </p:nvSpPr>
              <p:spPr bwMode="gray">
                <a:xfrm>
                  <a:off x="782" y="1253"/>
                  <a:ext cx="171" cy="170"/>
                </a:xfrm>
                <a:prstGeom prst="ellipse">
                  <a:avLst/>
                </a:prstGeom>
                <a:noFill/>
                <a:ln w="19050" algn="ctr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>
                  <a:lvl1pPr eaLnBrk="0" hangingPunct="0">
                    <a:buChar char="&gt;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1pPr>
                  <a:lvl2pPr marL="742950" indent="-28575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2pPr>
                  <a:lvl3pPr marL="11430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3pPr>
                  <a:lvl4pPr marL="1600200" indent="-22860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4pPr>
                  <a:lvl5pPr marL="20574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9pPr>
                </a:lstStyle>
                <a:p>
                  <a:pPr eaLnBrk="1" fontAlgn="auto" hangingPunct="1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altLang="de-DE" sz="1800" kern="0" dirty="0" smtClean="0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07" name="Oval 8"/>
                <p:cNvSpPr>
                  <a:spLocks noChangeArrowheads="1"/>
                </p:cNvSpPr>
                <p:nvPr/>
              </p:nvSpPr>
              <p:spPr bwMode="gray">
                <a:xfrm>
                  <a:off x="782" y="1366"/>
                  <a:ext cx="171" cy="170"/>
                </a:xfrm>
                <a:prstGeom prst="ellipse">
                  <a:avLst/>
                </a:prstGeom>
                <a:noFill/>
                <a:ln w="19050" algn="ctr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>
                  <a:lvl1pPr eaLnBrk="0" hangingPunct="0">
                    <a:buChar char="&gt;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1pPr>
                  <a:lvl2pPr marL="742950" indent="-28575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2pPr>
                  <a:lvl3pPr marL="11430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3pPr>
                  <a:lvl4pPr marL="1600200" indent="-22860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4pPr>
                  <a:lvl5pPr marL="20574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9pPr>
                </a:lstStyle>
                <a:p>
                  <a:pPr eaLnBrk="1" fontAlgn="auto" hangingPunct="1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altLang="de-DE" sz="1800" kern="0" dirty="0" smtClean="0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08" name="Line 9"/>
                <p:cNvSpPr>
                  <a:spLocks noChangeShapeType="1"/>
                </p:cNvSpPr>
                <p:nvPr/>
              </p:nvSpPr>
              <p:spPr bwMode="gray">
                <a:xfrm>
                  <a:off x="867" y="1536"/>
                  <a:ext cx="0" cy="114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209" name="Line 10"/>
                <p:cNvSpPr>
                  <a:spLocks noChangeShapeType="1"/>
                </p:cNvSpPr>
                <p:nvPr/>
              </p:nvSpPr>
              <p:spPr bwMode="gray">
                <a:xfrm>
                  <a:off x="867" y="1139"/>
                  <a:ext cx="0" cy="114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</p:grpSp>
          <p:grpSp>
            <p:nvGrpSpPr>
              <p:cNvPr id="190" name="Group 6"/>
              <p:cNvGrpSpPr>
                <a:grpSpLocks/>
              </p:cNvGrpSpPr>
              <p:nvPr>
                <p:custDataLst>
                  <p:tags r:id="rId74"/>
                </p:custDataLst>
              </p:nvPr>
            </p:nvGrpSpPr>
            <p:grpSpPr bwMode="auto">
              <a:xfrm>
                <a:off x="1382756" y="3262989"/>
                <a:ext cx="176253" cy="529795"/>
                <a:chOff x="782" y="1139"/>
                <a:chExt cx="170" cy="511"/>
              </a:xfrm>
            </p:grpSpPr>
            <p:sp>
              <p:nvSpPr>
                <p:cNvPr id="202" name="Oval 7"/>
                <p:cNvSpPr>
                  <a:spLocks noChangeArrowheads="1"/>
                </p:cNvSpPr>
                <p:nvPr/>
              </p:nvSpPr>
              <p:spPr bwMode="gray">
                <a:xfrm>
                  <a:off x="782" y="1253"/>
                  <a:ext cx="170" cy="170"/>
                </a:xfrm>
                <a:prstGeom prst="ellipse">
                  <a:avLst/>
                </a:prstGeom>
                <a:noFill/>
                <a:ln w="19050" algn="ctr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>
                  <a:lvl1pPr eaLnBrk="0" hangingPunct="0">
                    <a:buChar char="&gt;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1pPr>
                  <a:lvl2pPr marL="742950" indent="-28575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2pPr>
                  <a:lvl3pPr marL="11430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3pPr>
                  <a:lvl4pPr marL="1600200" indent="-22860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4pPr>
                  <a:lvl5pPr marL="20574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9pPr>
                </a:lstStyle>
                <a:p>
                  <a:pPr eaLnBrk="1" fontAlgn="auto" hangingPunct="1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altLang="de-DE" sz="1800" kern="0" dirty="0" smtClean="0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03" name="Oval 8"/>
                <p:cNvSpPr>
                  <a:spLocks noChangeArrowheads="1"/>
                </p:cNvSpPr>
                <p:nvPr/>
              </p:nvSpPr>
              <p:spPr bwMode="gray">
                <a:xfrm>
                  <a:off x="782" y="1366"/>
                  <a:ext cx="170" cy="170"/>
                </a:xfrm>
                <a:prstGeom prst="ellipse">
                  <a:avLst/>
                </a:prstGeom>
                <a:noFill/>
                <a:ln w="19050" algn="ctr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>
                  <a:lvl1pPr eaLnBrk="0" hangingPunct="0">
                    <a:buChar char="&gt;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1pPr>
                  <a:lvl2pPr marL="742950" indent="-28575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2pPr>
                  <a:lvl3pPr marL="11430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3pPr>
                  <a:lvl4pPr marL="1600200" indent="-22860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4pPr>
                  <a:lvl5pPr marL="20574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9pPr>
                </a:lstStyle>
                <a:p>
                  <a:pPr eaLnBrk="1" fontAlgn="auto" hangingPunct="1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altLang="de-DE" sz="1800" kern="0" dirty="0" smtClean="0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04" name="Line 9"/>
                <p:cNvSpPr>
                  <a:spLocks noChangeShapeType="1"/>
                </p:cNvSpPr>
                <p:nvPr/>
              </p:nvSpPr>
              <p:spPr bwMode="gray">
                <a:xfrm>
                  <a:off x="868" y="1536"/>
                  <a:ext cx="0" cy="114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205" name="Line 10"/>
                <p:cNvSpPr>
                  <a:spLocks noChangeShapeType="1"/>
                </p:cNvSpPr>
                <p:nvPr/>
              </p:nvSpPr>
              <p:spPr bwMode="gray">
                <a:xfrm>
                  <a:off x="868" y="1139"/>
                  <a:ext cx="0" cy="114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</p:grpSp>
          <p:sp>
            <p:nvSpPr>
              <p:cNvPr id="191" name="Line 84"/>
              <p:cNvSpPr>
                <a:spLocks noChangeShapeType="1"/>
              </p:cNvSpPr>
              <p:nvPr>
                <p:custDataLst>
                  <p:tags r:id="rId75"/>
                </p:custDataLst>
              </p:nvPr>
            </p:nvSpPr>
            <p:spPr bwMode="gray">
              <a:xfrm>
                <a:off x="501881" y="3803074"/>
                <a:ext cx="1368847" cy="0"/>
              </a:xfrm>
              <a:prstGeom prst="line">
                <a:avLst/>
              </a:prstGeom>
              <a:noFill/>
              <a:ln w="1905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fontAlgn="auto">
                  <a:spcBef>
                    <a:spcPts val="0"/>
                  </a:spcBef>
                  <a:spcAft>
                    <a:spcPct val="100000"/>
                  </a:spcAft>
                  <a:buClr>
                    <a:srgbClr val="0050A6"/>
                  </a:buClr>
                  <a:buFont typeface="Arial" pitchFamily="34" charset="0"/>
                  <a:buNone/>
                  <a:defRPr/>
                </a:pPr>
                <a:endParaRPr lang="de-DE" kern="0" dirty="0">
                  <a:solidFill>
                    <a:srgbClr val="000000"/>
                  </a:solidFill>
                  <a:latin typeface="Calibri" panose="020F0502020204030204" pitchFamily="34" charset="0"/>
                  <a:cs typeface="Arial"/>
                </a:endParaRPr>
              </a:p>
            </p:txBody>
          </p:sp>
          <p:sp>
            <p:nvSpPr>
              <p:cNvPr id="192" name="Line 84"/>
              <p:cNvSpPr>
                <a:spLocks noChangeShapeType="1"/>
              </p:cNvSpPr>
              <p:nvPr>
                <p:custDataLst>
                  <p:tags r:id="rId76"/>
                </p:custDataLst>
              </p:nvPr>
            </p:nvSpPr>
            <p:spPr bwMode="gray">
              <a:xfrm>
                <a:off x="2413798" y="3803074"/>
                <a:ext cx="1368847" cy="0"/>
              </a:xfrm>
              <a:prstGeom prst="line">
                <a:avLst/>
              </a:prstGeom>
              <a:noFill/>
              <a:ln w="1905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fontAlgn="auto">
                  <a:spcBef>
                    <a:spcPts val="0"/>
                  </a:spcBef>
                  <a:spcAft>
                    <a:spcPct val="100000"/>
                  </a:spcAft>
                  <a:buClr>
                    <a:srgbClr val="0050A6"/>
                  </a:buClr>
                  <a:buFont typeface="Arial" pitchFamily="34" charset="0"/>
                  <a:buNone/>
                  <a:defRPr/>
                </a:pPr>
                <a:endParaRPr lang="de-DE" kern="0" dirty="0">
                  <a:solidFill>
                    <a:srgbClr val="000000"/>
                  </a:solidFill>
                  <a:latin typeface="Calibri" panose="020F0502020204030204" pitchFamily="34" charset="0"/>
                  <a:cs typeface="Arial"/>
                </a:endParaRPr>
              </a:p>
            </p:txBody>
          </p:sp>
          <p:grpSp>
            <p:nvGrpSpPr>
              <p:cNvPr id="193" name="Group 6"/>
              <p:cNvGrpSpPr>
                <a:grpSpLocks/>
              </p:cNvGrpSpPr>
              <p:nvPr>
                <p:custDataLst>
                  <p:tags r:id="rId77"/>
                </p:custDataLst>
              </p:nvPr>
            </p:nvGrpSpPr>
            <p:grpSpPr bwMode="auto">
              <a:xfrm>
                <a:off x="2054363" y="2733194"/>
                <a:ext cx="176253" cy="529795"/>
                <a:chOff x="782" y="1139"/>
                <a:chExt cx="170" cy="511"/>
              </a:xfrm>
            </p:grpSpPr>
            <p:sp>
              <p:nvSpPr>
                <p:cNvPr id="198" name="Oval 7"/>
                <p:cNvSpPr>
                  <a:spLocks noChangeArrowheads="1"/>
                </p:cNvSpPr>
                <p:nvPr/>
              </p:nvSpPr>
              <p:spPr bwMode="gray">
                <a:xfrm>
                  <a:off x="782" y="1252"/>
                  <a:ext cx="170" cy="170"/>
                </a:xfrm>
                <a:prstGeom prst="ellipse">
                  <a:avLst/>
                </a:prstGeom>
                <a:noFill/>
                <a:ln w="19050" algn="ctr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>
                  <a:lvl1pPr eaLnBrk="0" hangingPunct="0">
                    <a:buChar char="&gt;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1pPr>
                  <a:lvl2pPr marL="742950" indent="-28575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2pPr>
                  <a:lvl3pPr marL="11430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3pPr>
                  <a:lvl4pPr marL="1600200" indent="-22860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4pPr>
                  <a:lvl5pPr marL="20574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9pPr>
                </a:lstStyle>
                <a:p>
                  <a:pPr eaLnBrk="1" fontAlgn="auto" hangingPunct="1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altLang="de-DE" sz="1800" kern="0" dirty="0" smtClean="0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99" name="Oval 8"/>
                <p:cNvSpPr>
                  <a:spLocks noChangeArrowheads="1"/>
                </p:cNvSpPr>
                <p:nvPr/>
              </p:nvSpPr>
              <p:spPr bwMode="gray">
                <a:xfrm>
                  <a:off x="782" y="1366"/>
                  <a:ext cx="170" cy="170"/>
                </a:xfrm>
                <a:prstGeom prst="ellipse">
                  <a:avLst/>
                </a:prstGeom>
                <a:noFill/>
                <a:ln w="19050" algn="ctr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>
                  <a:lvl1pPr eaLnBrk="0" hangingPunct="0">
                    <a:buChar char="&gt;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1pPr>
                  <a:lvl2pPr marL="742950" indent="-28575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2pPr>
                  <a:lvl3pPr marL="11430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3pPr>
                  <a:lvl4pPr marL="1600200" indent="-22860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4pPr>
                  <a:lvl5pPr marL="20574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9pPr>
                </a:lstStyle>
                <a:p>
                  <a:pPr eaLnBrk="1" fontAlgn="auto" hangingPunct="1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altLang="de-DE" sz="1800" kern="0" dirty="0" smtClean="0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00" name="Line 9"/>
                <p:cNvSpPr>
                  <a:spLocks noChangeShapeType="1"/>
                </p:cNvSpPr>
                <p:nvPr/>
              </p:nvSpPr>
              <p:spPr bwMode="gray">
                <a:xfrm>
                  <a:off x="867" y="1536"/>
                  <a:ext cx="0" cy="114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201" name="Line 10"/>
                <p:cNvSpPr>
                  <a:spLocks noChangeShapeType="1"/>
                </p:cNvSpPr>
                <p:nvPr/>
              </p:nvSpPr>
              <p:spPr bwMode="gray">
                <a:xfrm>
                  <a:off x="867" y="1139"/>
                  <a:ext cx="0" cy="114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</p:grpSp>
          <p:sp>
            <p:nvSpPr>
              <p:cNvPr id="194" name="Line 84"/>
              <p:cNvSpPr>
                <a:spLocks noChangeShapeType="1"/>
              </p:cNvSpPr>
              <p:nvPr>
                <p:custDataLst>
                  <p:tags r:id="rId78"/>
                </p:custDataLst>
              </p:nvPr>
            </p:nvSpPr>
            <p:spPr bwMode="gray">
              <a:xfrm>
                <a:off x="1458811" y="2728299"/>
                <a:ext cx="1368848" cy="0"/>
              </a:xfrm>
              <a:prstGeom prst="line">
                <a:avLst/>
              </a:prstGeom>
              <a:noFill/>
              <a:ln w="1905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fontAlgn="auto">
                  <a:spcBef>
                    <a:spcPts val="0"/>
                  </a:spcBef>
                  <a:spcAft>
                    <a:spcPct val="100000"/>
                  </a:spcAft>
                  <a:buClr>
                    <a:srgbClr val="0050A6"/>
                  </a:buClr>
                  <a:buFont typeface="Arial" pitchFamily="34" charset="0"/>
                  <a:buNone/>
                  <a:defRPr/>
                </a:pPr>
                <a:endParaRPr lang="de-DE" kern="0" dirty="0">
                  <a:solidFill>
                    <a:srgbClr val="000000"/>
                  </a:solidFill>
                  <a:latin typeface="Calibri" panose="020F0502020204030204" pitchFamily="34" charset="0"/>
                  <a:cs typeface="Arial"/>
                </a:endParaRPr>
              </a:p>
            </p:txBody>
          </p:sp>
          <p:grpSp>
            <p:nvGrpSpPr>
              <p:cNvPr id="195" name="Gruppieren 57"/>
              <p:cNvGrpSpPr>
                <a:grpSpLocks/>
              </p:cNvGrpSpPr>
              <p:nvPr>
                <p:custDataLst>
                  <p:tags r:id="rId79"/>
                </p:custDataLst>
              </p:nvPr>
            </p:nvGrpSpPr>
            <p:grpSpPr bwMode="auto">
              <a:xfrm>
                <a:off x="1604138" y="2316321"/>
                <a:ext cx="445166" cy="364493"/>
                <a:chOff x="1604138" y="2200907"/>
                <a:chExt cx="445166" cy="364493"/>
              </a:xfrm>
            </p:grpSpPr>
            <p:sp>
              <p:nvSpPr>
                <p:cNvPr id="196" name="Flussdiagramm: Verzögerung 195"/>
                <p:cNvSpPr/>
                <p:nvPr/>
              </p:nvSpPr>
              <p:spPr bwMode="auto">
                <a:xfrm rot="16200000">
                  <a:off x="1804853" y="2318134"/>
                  <a:ext cx="236673" cy="252591"/>
                </a:xfrm>
                <a:prstGeom prst="flowChartDelay">
                  <a:avLst/>
                </a:prstGeom>
                <a:solidFill>
                  <a:srgbClr val="0050A6">
                    <a:lumMod val="20000"/>
                    <a:lumOff val="80000"/>
                  </a:srgbClr>
                </a:solidFill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197" name="Freihandform 196"/>
                <p:cNvSpPr/>
                <p:nvPr/>
              </p:nvSpPr>
              <p:spPr bwMode="auto">
                <a:xfrm>
                  <a:off x="1604536" y="2200795"/>
                  <a:ext cx="242876" cy="365683"/>
                </a:xfrm>
                <a:custGeom>
                  <a:avLst/>
                  <a:gdLst>
                    <a:gd name="connsiteX0" fmla="*/ 7620 w 350520"/>
                    <a:gd name="connsiteY0" fmla="*/ 0 h 502920"/>
                    <a:gd name="connsiteX1" fmla="*/ 350520 w 350520"/>
                    <a:gd name="connsiteY1" fmla="*/ 0 h 502920"/>
                    <a:gd name="connsiteX2" fmla="*/ 350520 w 350520"/>
                    <a:gd name="connsiteY2" fmla="*/ 502920 h 502920"/>
                    <a:gd name="connsiteX3" fmla="*/ 0 w 350520"/>
                    <a:gd name="connsiteY3" fmla="*/ 502920 h 502920"/>
                    <a:gd name="connsiteX4" fmla="*/ 7620 w 350520"/>
                    <a:gd name="connsiteY4" fmla="*/ 0 h 502920"/>
                    <a:gd name="connsiteX0" fmla="*/ 0 w 342900"/>
                    <a:gd name="connsiteY0" fmla="*/ 0 h 502920"/>
                    <a:gd name="connsiteX1" fmla="*/ 342900 w 342900"/>
                    <a:gd name="connsiteY1" fmla="*/ 0 h 502920"/>
                    <a:gd name="connsiteX2" fmla="*/ 342900 w 342900"/>
                    <a:gd name="connsiteY2" fmla="*/ 502920 h 502920"/>
                    <a:gd name="connsiteX3" fmla="*/ 7620 w 342900"/>
                    <a:gd name="connsiteY3" fmla="*/ 502920 h 502920"/>
                    <a:gd name="connsiteX4" fmla="*/ 0 w 342900"/>
                    <a:gd name="connsiteY4" fmla="*/ 0 h 502920"/>
                    <a:gd name="connsiteX0" fmla="*/ 0 w 342900"/>
                    <a:gd name="connsiteY0" fmla="*/ 0 h 502920"/>
                    <a:gd name="connsiteX1" fmla="*/ 342900 w 342900"/>
                    <a:gd name="connsiteY1" fmla="*/ 0 h 502920"/>
                    <a:gd name="connsiteX2" fmla="*/ 342900 w 342900"/>
                    <a:gd name="connsiteY2" fmla="*/ 502920 h 502920"/>
                    <a:gd name="connsiteX3" fmla="*/ 7620 w 342900"/>
                    <a:gd name="connsiteY3" fmla="*/ 502920 h 502920"/>
                    <a:gd name="connsiteX4" fmla="*/ 7620 w 342900"/>
                    <a:gd name="connsiteY4" fmla="*/ 236220 h 502920"/>
                    <a:gd name="connsiteX5" fmla="*/ 0 w 342900"/>
                    <a:gd name="connsiteY5" fmla="*/ 0 h 502920"/>
                    <a:gd name="connsiteX0" fmla="*/ 0 w 342900"/>
                    <a:gd name="connsiteY0" fmla="*/ 0 h 502920"/>
                    <a:gd name="connsiteX1" fmla="*/ 342900 w 342900"/>
                    <a:gd name="connsiteY1" fmla="*/ 0 h 502920"/>
                    <a:gd name="connsiteX2" fmla="*/ 342900 w 342900"/>
                    <a:gd name="connsiteY2" fmla="*/ 502920 h 502920"/>
                    <a:gd name="connsiteX3" fmla="*/ 7620 w 342900"/>
                    <a:gd name="connsiteY3" fmla="*/ 502920 h 502920"/>
                    <a:gd name="connsiteX4" fmla="*/ 83820 w 342900"/>
                    <a:gd name="connsiteY4" fmla="*/ 243840 h 502920"/>
                    <a:gd name="connsiteX5" fmla="*/ 0 w 342900"/>
                    <a:gd name="connsiteY5" fmla="*/ 0 h 502920"/>
                    <a:gd name="connsiteX0" fmla="*/ 0 w 342900"/>
                    <a:gd name="connsiteY0" fmla="*/ 0 h 502920"/>
                    <a:gd name="connsiteX1" fmla="*/ 342900 w 342900"/>
                    <a:gd name="connsiteY1" fmla="*/ 0 h 502920"/>
                    <a:gd name="connsiteX2" fmla="*/ 335280 w 342900"/>
                    <a:gd name="connsiteY2" fmla="*/ 259080 h 502920"/>
                    <a:gd name="connsiteX3" fmla="*/ 342900 w 342900"/>
                    <a:gd name="connsiteY3" fmla="*/ 502920 h 502920"/>
                    <a:gd name="connsiteX4" fmla="*/ 7620 w 342900"/>
                    <a:gd name="connsiteY4" fmla="*/ 502920 h 502920"/>
                    <a:gd name="connsiteX5" fmla="*/ 83820 w 342900"/>
                    <a:gd name="connsiteY5" fmla="*/ 243840 h 502920"/>
                    <a:gd name="connsiteX6" fmla="*/ 0 w 342900"/>
                    <a:gd name="connsiteY6" fmla="*/ 0 h 502920"/>
                    <a:gd name="connsiteX0" fmla="*/ 0 w 342900"/>
                    <a:gd name="connsiteY0" fmla="*/ 0 h 502920"/>
                    <a:gd name="connsiteX1" fmla="*/ 342900 w 342900"/>
                    <a:gd name="connsiteY1" fmla="*/ 0 h 502920"/>
                    <a:gd name="connsiteX2" fmla="*/ 251460 w 342900"/>
                    <a:gd name="connsiteY2" fmla="*/ 259080 h 502920"/>
                    <a:gd name="connsiteX3" fmla="*/ 342900 w 342900"/>
                    <a:gd name="connsiteY3" fmla="*/ 502920 h 502920"/>
                    <a:gd name="connsiteX4" fmla="*/ 7620 w 342900"/>
                    <a:gd name="connsiteY4" fmla="*/ 502920 h 502920"/>
                    <a:gd name="connsiteX5" fmla="*/ 83820 w 342900"/>
                    <a:gd name="connsiteY5" fmla="*/ 243840 h 502920"/>
                    <a:gd name="connsiteX6" fmla="*/ 0 w 342900"/>
                    <a:gd name="connsiteY6" fmla="*/ 0 h 502920"/>
                    <a:gd name="connsiteX0" fmla="*/ 0 w 351050"/>
                    <a:gd name="connsiteY0" fmla="*/ 0 h 502920"/>
                    <a:gd name="connsiteX1" fmla="*/ 342900 w 351050"/>
                    <a:gd name="connsiteY1" fmla="*/ 0 h 502920"/>
                    <a:gd name="connsiteX2" fmla="*/ 251460 w 351050"/>
                    <a:gd name="connsiteY2" fmla="*/ 259080 h 502920"/>
                    <a:gd name="connsiteX3" fmla="*/ 342900 w 351050"/>
                    <a:gd name="connsiteY3" fmla="*/ 502920 h 502920"/>
                    <a:gd name="connsiteX4" fmla="*/ 7620 w 351050"/>
                    <a:gd name="connsiteY4" fmla="*/ 502920 h 502920"/>
                    <a:gd name="connsiteX5" fmla="*/ 83820 w 351050"/>
                    <a:gd name="connsiteY5" fmla="*/ 243840 h 502920"/>
                    <a:gd name="connsiteX6" fmla="*/ 0 w 351050"/>
                    <a:gd name="connsiteY6" fmla="*/ 0 h 502920"/>
                    <a:gd name="connsiteX0" fmla="*/ 9024 w 360074"/>
                    <a:gd name="connsiteY0" fmla="*/ 0 h 502920"/>
                    <a:gd name="connsiteX1" fmla="*/ 351924 w 360074"/>
                    <a:gd name="connsiteY1" fmla="*/ 0 h 502920"/>
                    <a:gd name="connsiteX2" fmla="*/ 260484 w 360074"/>
                    <a:gd name="connsiteY2" fmla="*/ 259080 h 502920"/>
                    <a:gd name="connsiteX3" fmla="*/ 351924 w 360074"/>
                    <a:gd name="connsiteY3" fmla="*/ 502920 h 502920"/>
                    <a:gd name="connsiteX4" fmla="*/ 16644 w 360074"/>
                    <a:gd name="connsiteY4" fmla="*/ 502920 h 502920"/>
                    <a:gd name="connsiteX5" fmla="*/ 92844 w 360074"/>
                    <a:gd name="connsiteY5" fmla="*/ 243840 h 502920"/>
                    <a:gd name="connsiteX6" fmla="*/ 9024 w 360074"/>
                    <a:gd name="connsiteY6" fmla="*/ 0 h 502920"/>
                    <a:gd name="connsiteX0" fmla="*/ 9024 w 359690"/>
                    <a:gd name="connsiteY0" fmla="*/ 0 h 502920"/>
                    <a:gd name="connsiteX1" fmla="*/ 351924 w 359690"/>
                    <a:gd name="connsiteY1" fmla="*/ 0 h 502920"/>
                    <a:gd name="connsiteX2" fmla="*/ 260484 w 359690"/>
                    <a:gd name="connsiteY2" fmla="*/ 259080 h 502920"/>
                    <a:gd name="connsiteX3" fmla="*/ 351924 w 359690"/>
                    <a:gd name="connsiteY3" fmla="*/ 502920 h 502920"/>
                    <a:gd name="connsiteX4" fmla="*/ 16644 w 359690"/>
                    <a:gd name="connsiteY4" fmla="*/ 502920 h 502920"/>
                    <a:gd name="connsiteX5" fmla="*/ 92844 w 359690"/>
                    <a:gd name="connsiteY5" fmla="*/ 243840 h 502920"/>
                    <a:gd name="connsiteX6" fmla="*/ 9024 w 359690"/>
                    <a:gd name="connsiteY6" fmla="*/ 0 h 502920"/>
                    <a:gd name="connsiteX0" fmla="*/ 9024 w 351924"/>
                    <a:gd name="connsiteY0" fmla="*/ 0 h 502920"/>
                    <a:gd name="connsiteX1" fmla="*/ 351924 w 351924"/>
                    <a:gd name="connsiteY1" fmla="*/ 0 h 502920"/>
                    <a:gd name="connsiteX2" fmla="*/ 260484 w 351924"/>
                    <a:gd name="connsiteY2" fmla="*/ 259080 h 502920"/>
                    <a:gd name="connsiteX3" fmla="*/ 351924 w 351924"/>
                    <a:gd name="connsiteY3" fmla="*/ 502920 h 502920"/>
                    <a:gd name="connsiteX4" fmla="*/ 16644 w 351924"/>
                    <a:gd name="connsiteY4" fmla="*/ 502920 h 502920"/>
                    <a:gd name="connsiteX5" fmla="*/ 92844 w 351924"/>
                    <a:gd name="connsiteY5" fmla="*/ 243840 h 502920"/>
                    <a:gd name="connsiteX6" fmla="*/ 9024 w 351924"/>
                    <a:gd name="connsiteY6" fmla="*/ 0 h 502920"/>
                    <a:gd name="connsiteX0" fmla="*/ 9024 w 351924"/>
                    <a:gd name="connsiteY0" fmla="*/ 0 h 502920"/>
                    <a:gd name="connsiteX1" fmla="*/ 351924 w 351924"/>
                    <a:gd name="connsiteY1" fmla="*/ 0 h 502920"/>
                    <a:gd name="connsiteX2" fmla="*/ 291441 w 351924"/>
                    <a:gd name="connsiteY2" fmla="*/ 249555 h 502920"/>
                    <a:gd name="connsiteX3" fmla="*/ 351924 w 351924"/>
                    <a:gd name="connsiteY3" fmla="*/ 502920 h 502920"/>
                    <a:gd name="connsiteX4" fmla="*/ 16644 w 351924"/>
                    <a:gd name="connsiteY4" fmla="*/ 502920 h 502920"/>
                    <a:gd name="connsiteX5" fmla="*/ 92844 w 351924"/>
                    <a:gd name="connsiteY5" fmla="*/ 243840 h 502920"/>
                    <a:gd name="connsiteX6" fmla="*/ 9024 w 351924"/>
                    <a:gd name="connsiteY6" fmla="*/ 0 h 502920"/>
                    <a:gd name="connsiteX0" fmla="*/ 1719 w 344619"/>
                    <a:gd name="connsiteY0" fmla="*/ 0 h 502920"/>
                    <a:gd name="connsiteX1" fmla="*/ 344619 w 344619"/>
                    <a:gd name="connsiteY1" fmla="*/ 0 h 502920"/>
                    <a:gd name="connsiteX2" fmla="*/ 284136 w 344619"/>
                    <a:gd name="connsiteY2" fmla="*/ 249555 h 502920"/>
                    <a:gd name="connsiteX3" fmla="*/ 344619 w 344619"/>
                    <a:gd name="connsiteY3" fmla="*/ 502920 h 502920"/>
                    <a:gd name="connsiteX4" fmla="*/ 9339 w 344619"/>
                    <a:gd name="connsiteY4" fmla="*/ 502920 h 502920"/>
                    <a:gd name="connsiteX5" fmla="*/ 85539 w 344619"/>
                    <a:gd name="connsiteY5" fmla="*/ 243840 h 502920"/>
                    <a:gd name="connsiteX6" fmla="*/ 1719 w 344619"/>
                    <a:gd name="connsiteY6" fmla="*/ 0 h 502920"/>
                    <a:gd name="connsiteX0" fmla="*/ 0 w 342900"/>
                    <a:gd name="connsiteY0" fmla="*/ 0 h 502920"/>
                    <a:gd name="connsiteX1" fmla="*/ 342900 w 342900"/>
                    <a:gd name="connsiteY1" fmla="*/ 0 h 502920"/>
                    <a:gd name="connsiteX2" fmla="*/ 282417 w 342900"/>
                    <a:gd name="connsiteY2" fmla="*/ 249555 h 502920"/>
                    <a:gd name="connsiteX3" fmla="*/ 342900 w 342900"/>
                    <a:gd name="connsiteY3" fmla="*/ 502920 h 502920"/>
                    <a:gd name="connsiteX4" fmla="*/ 7620 w 342900"/>
                    <a:gd name="connsiteY4" fmla="*/ 502920 h 502920"/>
                    <a:gd name="connsiteX5" fmla="*/ 83820 w 342900"/>
                    <a:gd name="connsiteY5" fmla="*/ 243840 h 502920"/>
                    <a:gd name="connsiteX6" fmla="*/ 0 w 342900"/>
                    <a:gd name="connsiteY6" fmla="*/ 0 h 502920"/>
                    <a:gd name="connsiteX0" fmla="*/ 0 w 342900"/>
                    <a:gd name="connsiteY0" fmla="*/ 0 h 502920"/>
                    <a:gd name="connsiteX1" fmla="*/ 342900 w 342900"/>
                    <a:gd name="connsiteY1" fmla="*/ 0 h 502920"/>
                    <a:gd name="connsiteX2" fmla="*/ 282417 w 342900"/>
                    <a:gd name="connsiteY2" fmla="*/ 249555 h 502920"/>
                    <a:gd name="connsiteX3" fmla="*/ 342900 w 342900"/>
                    <a:gd name="connsiteY3" fmla="*/ 502920 h 502920"/>
                    <a:gd name="connsiteX4" fmla="*/ 7620 w 342900"/>
                    <a:gd name="connsiteY4" fmla="*/ 502920 h 502920"/>
                    <a:gd name="connsiteX5" fmla="*/ 62389 w 342900"/>
                    <a:gd name="connsiteY5" fmla="*/ 253365 h 502920"/>
                    <a:gd name="connsiteX6" fmla="*/ 0 w 342900"/>
                    <a:gd name="connsiteY6" fmla="*/ 0 h 502920"/>
                    <a:gd name="connsiteX0" fmla="*/ 0 w 342900"/>
                    <a:gd name="connsiteY0" fmla="*/ 0 h 502920"/>
                    <a:gd name="connsiteX1" fmla="*/ 326231 w 342900"/>
                    <a:gd name="connsiteY1" fmla="*/ 0 h 502920"/>
                    <a:gd name="connsiteX2" fmla="*/ 282417 w 342900"/>
                    <a:gd name="connsiteY2" fmla="*/ 249555 h 502920"/>
                    <a:gd name="connsiteX3" fmla="*/ 342900 w 342900"/>
                    <a:gd name="connsiteY3" fmla="*/ 502920 h 502920"/>
                    <a:gd name="connsiteX4" fmla="*/ 7620 w 342900"/>
                    <a:gd name="connsiteY4" fmla="*/ 502920 h 502920"/>
                    <a:gd name="connsiteX5" fmla="*/ 62389 w 342900"/>
                    <a:gd name="connsiteY5" fmla="*/ 253365 h 502920"/>
                    <a:gd name="connsiteX6" fmla="*/ 0 w 342900"/>
                    <a:gd name="connsiteY6" fmla="*/ 0 h 502920"/>
                    <a:gd name="connsiteX0" fmla="*/ 16195 w 335282"/>
                    <a:gd name="connsiteY0" fmla="*/ 0 h 502920"/>
                    <a:gd name="connsiteX1" fmla="*/ 318613 w 335282"/>
                    <a:gd name="connsiteY1" fmla="*/ 0 h 502920"/>
                    <a:gd name="connsiteX2" fmla="*/ 274799 w 335282"/>
                    <a:gd name="connsiteY2" fmla="*/ 249555 h 502920"/>
                    <a:gd name="connsiteX3" fmla="*/ 335282 w 335282"/>
                    <a:gd name="connsiteY3" fmla="*/ 502920 h 502920"/>
                    <a:gd name="connsiteX4" fmla="*/ 2 w 335282"/>
                    <a:gd name="connsiteY4" fmla="*/ 502920 h 502920"/>
                    <a:gd name="connsiteX5" fmla="*/ 54771 w 335282"/>
                    <a:gd name="connsiteY5" fmla="*/ 253365 h 502920"/>
                    <a:gd name="connsiteX6" fmla="*/ 16195 w 335282"/>
                    <a:gd name="connsiteY6" fmla="*/ 0 h 5029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35282" h="502920">
                      <a:moveTo>
                        <a:pt x="16195" y="0"/>
                      </a:moveTo>
                      <a:lnTo>
                        <a:pt x="318613" y="0"/>
                      </a:lnTo>
                      <a:cubicBezTo>
                        <a:pt x="312898" y="83661"/>
                        <a:pt x="272021" y="165735"/>
                        <a:pt x="274799" y="249555"/>
                      </a:cubicBezTo>
                      <a:cubicBezTo>
                        <a:pt x="277577" y="333375"/>
                        <a:pt x="333060" y="443230"/>
                        <a:pt x="335282" y="502920"/>
                      </a:cubicBezTo>
                      <a:lnTo>
                        <a:pt x="2" y="502920"/>
                      </a:lnTo>
                      <a:cubicBezTo>
                        <a:pt x="-316" y="445453"/>
                        <a:pt x="52072" y="337185"/>
                        <a:pt x="54771" y="253365"/>
                      </a:cubicBezTo>
                      <a:cubicBezTo>
                        <a:pt x="57470" y="169545"/>
                        <a:pt x="20640" y="69215"/>
                        <a:pt x="16195" y="0"/>
                      </a:cubicBezTo>
                      <a:close/>
                    </a:path>
                  </a:pathLst>
                </a:custGeom>
                <a:solidFill>
                  <a:srgbClr val="0050A6">
                    <a:lumMod val="20000"/>
                    <a:lumOff val="80000"/>
                  </a:srgbClr>
                </a:solidFill>
                <a:ln w="6350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</p:grpSp>
        </p:grpSp>
        <p:grpSp>
          <p:nvGrpSpPr>
            <p:cNvPr id="10" name="Gruppieren 123"/>
            <p:cNvGrpSpPr>
              <a:grpSpLocks/>
            </p:cNvGrpSpPr>
            <p:nvPr/>
          </p:nvGrpSpPr>
          <p:grpSpPr bwMode="auto">
            <a:xfrm>
              <a:off x="4906963" y="3710880"/>
              <a:ext cx="3556000" cy="2705100"/>
              <a:chOff x="5126241" y="2316321"/>
              <a:chExt cx="3556141" cy="2705785"/>
            </a:xfrm>
          </p:grpSpPr>
          <p:sp>
            <p:nvSpPr>
              <p:cNvPr id="17" name="Pfeil nach unten 16"/>
              <p:cNvSpPr/>
              <p:nvPr>
                <p:custDataLst>
                  <p:tags r:id="rId6"/>
                </p:custDataLst>
              </p:nvPr>
            </p:nvSpPr>
            <p:spPr bwMode="auto">
              <a:xfrm>
                <a:off x="6078628" y="3304223"/>
                <a:ext cx="324498" cy="550651"/>
              </a:xfrm>
              <a:prstGeom prst="downArrow">
                <a:avLst/>
              </a:prstGeom>
              <a:solidFill>
                <a:srgbClr val="0050A6">
                  <a:lumMod val="20000"/>
                  <a:lumOff val="80000"/>
                </a:srgbClr>
              </a:solidFill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0000" tIns="46800" rIns="90000" bIns="46800" anchor="ctr"/>
              <a:lstStyle/>
              <a:p>
                <a:pPr marL="266700" indent="-266700" algn="ctr" fontAlgn="auto">
                  <a:spcBef>
                    <a:spcPts val="0"/>
                  </a:spcBef>
                  <a:spcAft>
                    <a:spcPct val="100000"/>
                  </a:spcAft>
                  <a:buClr>
                    <a:srgbClr val="0050A6"/>
                  </a:buClr>
                  <a:buFont typeface="Arial" pitchFamily="34" charset="0"/>
                  <a:buChar char="&gt;"/>
                  <a:defRPr/>
                </a:pPr>
                <a:endParaRPr lang="de-DE" sz="2000" kern="0" dirty="0">
                  <a:solidFill>
                    <a:srgbClr val="000000"/>
                  </a:solidFill>
                  <a:latin typeface="Calibri" panose="020F0502020204030204" pitchFamily="34" charset="0"/>
                  <a:cs typeface="Arial"/>
                </a:endParaRPr>
              </a:p>
            </p:txBody>
          </p:sp>
          <p:sp>
            <p:nvSpPr>
              <p:cNvPr id="18" name="Pfeil nach unten 17"/>
              <p:cNvSpPr/>
              <p:nvPr>
                <p:custDataLst>
                  <p:tags r:id="rId7"/>
                </p:custDataLst>
              </p:nvPr>
            </p:nvSpPr>
            <p:spPr bwMode="auto">
              <a:xfrm>
                <a:off x="6273910" y="3863232"/>
                <a:ext cx="324498" cy="548794"/>
              </a:xfrm>
              <a:prstGeom prst="downArrow">
                <a:avLst/>
              </a:prstGeom>
              <a:solidFill>
                <a:srgbClr val="0050A6">
                  <a:lumMod val="20000"/>
                  <a:lumOff val="80000"/>
                </a:srgbClr>
              </a:solidFill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0000" tIns="46800" rIns="90000" bIns="46800" anchor="ctr"/>
              <a:lstStyle/>
              <a:p>
                <a:pPr marL="266700" indent="-266700" algn="ctr" fontAlgn="auto">
                  <a:spcBef>
                    <a:spcPts val="0"/>
                  </a:spcBef>
                  <a:spcAft>
                    <a:spcPct val="100000"/>
                  </a:spcAft>
                  <a:buClr>
                    <a:srgbClr val="0050A6"/>
                  </a:buClr>
                  <a:buFont typeface="Arial" pitchFamily="34" charset="0"/>
                  <a:buChar char="&gt;"/>
                  <a:defRPr/>
                </a:pPr>
                <a:endParaRPr lang="de-DE" sz="2000" kern="0" dirty="0">
                  <a:solidFill>
                    <a:srgbClr val="000000"/>
                  </a:solidFill>
                  <a:latin typeface="Calibri" panose="020F0502020204030204" pitchFamily="34" charset="0"/>
                  <a:cs typeface="Arial"/>
                </a:endParaRPr>
              </a:p>
            </p:txBody>
          </p:sp>
          <p:sp>
            <p:nvSpPr>
              <p:cNvPr id="19" name="Pfeil nach unten 18"/>
              <p:cNvSpPr/>
              <p:nvPr>
                <p:custDataLst>
                  <p:tags r:id="rId8"/>
                </p:custDataLst>
              </p:nvPr>
            </p:nvSpPr>
            <p:spPr bwMode="auto">
              <a:xfrm>
                <a:off x="5318877" y="3863232"/>
                <a:ext cx="323526" cy="548794"/>
              </a:xfrm>
              <a:prstGeom prst="downArrow">
                <a:avLst/>
              </a:prstGeom>
              <a:solidFill>
                <a:srgbClr val="0050A6">
                  <a:lumMod val="20000"/>
                  <a:lumOff val="80000"/>
                </a:srgbClr>
              </a:solidFill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0000" tIns="46800" rIns="90000" bIns="46800" anchor="ctr"/>
              <a:lstStyle/>
              <a:p>
                <a:pPr marL="266700" indent="-266700" algn="ctr" fontAlgn="auto">
                  <a:spcBef>
                    <a:spcPts val="0"/>
                  </a:spcBef>
                  <a:spcAft>
                    <a:spcPct val="100000"/>
                  </a:spcAft>
                  <a:buClr>
                    <a:srgbClr val="0050A6"/>
                  </a:buClr>
                  <a:buFont typeface="Arial" pitchFamily="34" charset="0"/>
                  <a:buChar char="&gt;"/>
                  <a:defRPr/>
                </a:pPr>
                <a:endParaRPr lang="de-DE" sz="2000" kern="0" dirty="0">
                  <a:solidFill>
                    <a:srgbClr val="000000"/>
                  </a:solidFill>
                  <a:latin typeface="Calibri" panose="020F0502020204030204" pitchFamily="34" charset="0"/>
                  <a:cs typeface="Arial"/>
                </a:endParaRPr>
              </a:p>
            </p:txBody>
          </p:sp>
          <p:sp>
            <p:nvSpPr>
              <p:cNvPr id="20" name="Pfeil nach unten 19"/>
              <p:cNvSpPr/>
              <p:nvPr>
                <p:custDataLst>
                  <p:tags r:id="rId9"/>
                </p:custDataLst>
              </p:nvPr>
            </p:nvSpPr>
            <p:spPr bwMode="auto">
              <a:xfrm>
                <a:off x="8185920" y="3863232"/>
                <a:ext cx="325469" cy="548794"/>
              </a:xfrm>
              <a:prstGeom prst="downArrow">
                <a:avLst/>
              </a:prstGeom>
              <a:solidFill>
                <a:srgbClr val="0050A6">
                  <a:lumMod val="20000"/>
                  <a:lumOff val="80000"/>
                </a:srgbClr>
              </a:solidFill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0000" tIns="46800" rIns="90000" bIns="46800" anchor="ctr"/>
              <a:lstStyle/>
              <a:p>
                <a:pPr marL="266700" indent="-266700" algn="ctr" fontAlgn="auto">
                  <a:spcBef>
                    <a:spcPts val="0"/>
                  </a:spcBef>
                  <a:spcAft>
                    <a:spcPct val="100000"/>
                  </a:spcAft>
                  <a:buClr>
                    <a:srgbClr val="0050A6"/>
                  </a:buClr>
                  <a:buFont typeface="Arial" pitchFamily="34" charset="0"/>
                  <a:buChar char="&gt;"/>
                  <a:defRPr/>
                </a:pPr>
                <a:endParaRPr lang="de-DE" sz="2000" kern="0" dirty="0">
                  <a:solidFill>
                    <a:srgbClr val="000000"/>
                  </a:solidFill>
                  <a:latin typeface="Calibri" panose="020F0502020204030204" pitchFamily="34" charset="0"/>
                  <a:cs typeface="Arial"/>
                </a:endParaRPr>
              </a:p>
            </p:txBody>
          </p:sp>
          <p:sp>
            <p:nvSpPr>
              <p:cNvPr id="21" name="Pfeil nach unten 20"/>
              <p:cNvSpPr/>
              <p:nvPr>
                <p:custDataLst>
                  <p:tags r:id="rId10"/>
                </p:custDataLst>
              </p:nvPr>
            </p:nvSpPr>
            <p:spPr bwMode="auto">
              <a:xfrm>
                <a:off x="7229915" y="3863232"/>
                <a:ext cx="323526" cy="548794"/>
              </a:xfrm>
              <a:prstGeom prst="downArrow">
                <a:avLst/>
              </a:prstGeom>
              <a:solidFill>
                <a:srgbClr val="0050A6">
                  <a:lumMod val="20000"/>
                  <a:lumOff val="80000"/>
                </a:srgbClr>
              </a:solidFill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0000" tIns="46800" rIns="90000" bIns="46800" anchor="ctr"/>
              <a:lstStyle/>
              <a:p>
                <a:pPr marL="266700" indent="-266700" algn="ctr" fontAlgn="auto">
                  <a:spcBef>
                    <a:spcPts val="0"/>
                  </a:spcBef>
                  <a:spcAft>
                    <a:spcPct val="100000"/>
                  </a:spcAft>
                  <a:buClr>
                    <a:srgbClr val="0050A6"/>
                  </a:buClr>
                  <a:buFont typeface="Arial" pitchFamily="34" charset="0"/>
                  <a:buChar char="&gt;"/>
                  <a:defRPr/>
                </a:pPr>
                <a:endParaRPr lang="de-DE" sz="2000" kern="0" dirty="0">
                  <a:solidFill>
                    <a:srgbClr val="000000"/>
                  </a:solidFill>
                  <a:latin typeface="Calibri" panose="020F0502020204030204" pitchFamily="34" charset="0"/>
                  <a:cs typeface="Arial"/>
                </a:endParaRPr>
              </a:p>
            </p:txBody>
          </p:sp>
          <p:sp>
            <p:nvSpPr>
              <p:cNvPr id="22" name="Pfeil nach unten 21"/>
              <p:cNvSpPr/>
              <p:nvPr>
                <p:custDataLst>
                  <p:tags r:id="rId11"/>
                </p:custDataLst>
              </p:nvPr>
            </p:nvSpPr>
            <p:spPr bwMode="auto">
              <a:xfrm>
                <a:off x="7430054" y="3304223"/>
                <a:ext cx="323526" cy="550651"/>
              </a:xfrm>
              <a:prstGeom prst="downArrow">
                <a:avLst/>
              </a:prstGeom>
              <a:solidFill>
                <a:srgbClr val="0050A6">
                  <a:lumMod val="20000"/>
                  <a:lumOff val="80000"/>
                </a:srgbClr>
              </a:solidFill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0000" tIns="46800" rIns="90000" bIns="46800" anchor="ctr"/>
              <a:lstStyle/>
              <a:p>
                <a:pPr marL="266700" indent="-266700" algn="ctr" fontAlgn="auto">
                  <a:spcBef>
                    <a:spcPts val="0"/>
                  </a:spcBef>
                  <a:spcAft>
                    <a:spcPct val="100000"/>
                  </a:spcAft>
                  <a:buClr>
                    <a:srgbClr val="0050A6"/>
                  </a:buClr>
                  <a:buFont typeface="Arial" pitchFamily="34" charset="0"/>
                  <a:buChar char="&gt;"/>
                  <a:defRPr/>
                </a:pPr>
                <a:endParaRPr lang="de-DE" sz="2000" kern="0" dirty="0">
                  <a:solidFill>
                    <a:srgbClr val="000000"/>
                  </a:solidFill>
                  <a:latin typeface="Calibri" panose="020F0502020204030204" pitchFamily="34" charset="0"/>
                  <a:cs typeface="Arial"/>
                </a:endParaRPr>
              </a:p>
            </p:txBody>
          </p:sp>
          <p:sp>
            <p:nvSpPr>
              <p:cNvPr id="23" name="Pfeil nach unten 22"/>
              <p:cNvSpPr/>
              <p:nvPr>
                <p:custDataLst>
                  <p:tags r:id="rId12"/>
                </p:custDataLst>
              </p:nvPr>
            </p:nvSpPr>
            <p:spPr bwMode="auto">
              <a:xfrm>
                <a:off x="6751912" y="2763787"/>
                <a:ext cx="323526" cy="549722"/>
              </a:xfrm>
              <a:prstGeom prst="downArrow">
                <a:avLst/>
              </a:prstGeom>
              <a:solidFill>
                <a:srgbClr val="0050A6">
                  <a:lumMod val="20000"/>
                  <a:lumOff val="80000"/>
                </a:srgbClr>
              </a:solidFill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90000" tIns="46800" rIns="90000" bIns="46800" anchor="ctr"/>
              <a:lstStyle/>
              <a:p>
                <a:pPr marL="266700" indent="-266700" algn="ctr" fontAlgn="auto">
                  <a:spcBef>
                    <a:spcPts val="0"/>
                  </a:spcBef>
                  <a:spcAft>
                    <a:spcPct val="100000"/>
                  </a:spcAft>
                  <a:buClr>
                    <a:srgbClr val="0050A6"/>
                  </a:buClr>
                  <a:buFont typeface="Arial" pitchFamily="34" charset="0"/>
                  <a:buChar char="&gt;"/>
                  <a:defRPr/>
                </a:pPr>
                <a:endParaRPr lang="de-DE" sz="2000" kern="0" dirty="0">
                  <a:solidFill>
                    <a:srgbClr val="000000"/>
                  </a:solidFill>
                  <a:latin typeface="Calibri" panose="020F0502020204030204" pitchFamily="34" charset="0"/>
                  <a:cs typeface="Arial"/>
                </a:endParaRPr>
              </a:p>
            </p:txBody>
          </p:sp>
          <p:sp>
            <p:nvSpPr>
              <p:cNvPr id="24" name="Bogen 23"/>
              <p:cNvSpPr/>
              <p:nvPr>
                <p:custDataLst>
                  <p:tags r:id="rId13"/>
                </p:custDataLst>
              </p:nvPr>
            </p:nvSpPr>
            <p:spPr bwMode="auto">
              <a:xfrm>
                <a:off x="7515550" y="3854875"/>
                <a:ext cx="709231" cy="963871"/>
              </a:xfrm>
              <a:prstGeom prst="arc">
                <a:avLst>
                  <a:gd name="adj1" fmla="val 11129714"/>
                  <a:gd name="adj2" fmla="val 21244126"/>
                </a:avLst>
              </a:prstGeom>
              <a:noFill/>
              <a:ln w="38100" cap="flat" cmpd="sng" algn="ctr">
                <a:solidFill>
                  <a:srgbClr val="92D050"/>
                </a:solidFill>
                <a:prstDash val="solid"/>
                <a:round/>
                <a:headEnd type="arrow" w="med" len="sm"/>
                <a:tailEnd type="arrow" w="med" len="sm"/>
              </a:ln>
              <a:effectLst/>
            </p:spPr>
            <p:txBody>
              <a:bodyPr wrap="none" lIns="90000" tIns="46800" rIns="90000" bIns="46800" anchor="ctr"/>
              <a:lstStyle/>
              <a:p>
                <a:pPr algn="ctr" fontAlgn="auto">
                  <a:spcBef>
                    <a:spcPts val="0"/>
                  </a:spcBef>
                  <a:spcAft>
                    <a:spcPct val="100000"/>
                  </a:spcAft>
                  <a:buClr>
                    <a:srgbClr val="0050A6"/>
                  </a:buClr>
                  <a:buFont typeface="Arial" pitchFamily="23" charset="0"/>
                  <a:buNone/>
                  <a:defRPr/>
                </a:pPr>
                <a:endParaRPr lang="de-DE" kern="0" dirty="0">
                  <a:solidFill>
                    <a:srgbClr val="000000"/>
                  </a:solidFill>
                  <a:latin typeface="Calibri" panose="020F0502020204030204" pitchFamily="34" charset="0"/>
                  <a:cs typeface="Arial"/>
                </a:endParaRPr>
              </a:p>
            </p:txBody>
          </p:sp>
          <p:grpSp>
            <p:nvGrpSpPr>
              <p:cNvPr id="25" name="Group 6"/>
              <p:cNvGrpSpPr>
                <a:grpSpLocks/>
              </p:cNvGrpSpPr>
              <p:nvPr>
                <p:custDataLst>
                  <p:tags r:id="rId14"/>
                </p:custDataLst>
              </p:nvPr>
            </p:nvGrpSpPr>
            <p:grpSpPr bwMode="auto">
              <a:xfrm>
                <a:off x="5393745" y="3802821"/>
                <a:ext cx="176253" cy="529795"/>
                <a:chOff x="782" y="1139"/>
                <a:chExt cx="170" cy="511"/>
              </a:xfrm>
            </p:grpSpPr>
            <p:sp>
              <p:nvSpPr>
                <p:cNvPr id="162" name="Oval 7"/>
                <p:cNvSpPr>
                  <a:spLocks noChangeArrowheads="1"/>
                </p:cNvSpPr>
                <p:nvPr/>
              </p:nvSpPr>
              <p:spPr bwMode="gray">
                <a:xfrm>
                  <a:off x="782" y="1253"/>
                  <a:ext cx="171" cy="170"/>
                </a:xfrm>
                <a:prstGeom prst="ellipse">
                  <a:avLst/>
                </a:prstGeom>
                <a:noFill/>
                <a:ln w="19050" algn="ctr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>
                  <a:lvl1pPr eaLnBrk="0" hangingPunct="0">
                    <a:buChar char="&gt;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1pPr>
                  <a:lvl2pPr marL="742950" indent="-28575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2pPr>
                  <a:lvl3pPr marL="11430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3pPr>
                  <a:lvl4pPr marL="1600200" indent="-22860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4pPr>
                  <a:lvl5pPr marL="20574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9pPr>
                </a:lstStyle>
                <a:p>
                  <a:pPr eaLnBrk="1" fontAlgn="auto" hangingPunct="1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altLang="de-DE" sz="1800" kern="0" dirty="0" smtClean="0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63" name="Oval 8"/>
                <p:cNvSpPr>
                  <a:spLocks noChangeArrowheads="1"/>
                </p:cNvSpPr>
                <p:nvPr/>
              </p:nvSpPr>
              <p:spPr bwMode="gray">
                <a:xfrm>
                  <a:off x="782" y="1366"/>
                  <a:ext cx="171" cy="170"/>
                </a:xfrm>
                <a:prstGeom prst="ellipse">
                  <a:avLst/>
                </a:prstGeom>
                <a:noFill/>
                <a:ln w="19050" algn="ctr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>
                  <a:lvl1pPr eaLnBrk="0" hangingPunct="0">
                    <a:buChar char="&gt;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1pPr>
                  <a:lvl2pPr marL="742950" indent="-28575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2pPr>
                  <a:lvl3pPr marL="11430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3pPr>
                  <a:lvl4pPr marL="1600200" indent="-22860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4pPr>
                  <a:lvl5pPr marL="20574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9pPr>
                </a:lstStyle>
                <a:p>
                  <a:pPr eaLnBrk="1" fontAlgn="auto" hangingPunct="1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altLang="de-DE" sz="1800" kern="0" dirty="0" smtClean="0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64" name="Line 9"/>
                <p:cNvSpPr>
                  <a:spLocks noChangeShapeType="1"/>
                </p:cNvSpPr>
                <p:nvPr/>
              </p:nvSpPr>
              <p:spPr bwMode="gray">
                <a:xfrm>
                  <a:off x="867" y="1536"/>
                  <a:ext cx="0" cy="114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165" name="Line 10"/>
                <p:cNvSpPr>
                  <a:spLocks noChangeShapeType="1"/>
                </p:cNvSpPr>
                <p:nvPr/>
              </p:nvSpPr>
              <p:spPr bwMode="gray">
                <a:xfrm>
                  <a:off x="867" y="1139"/>
                  <a:ext cx="0" cy="114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</p:grpSp>
          <p:grpSp>
            <p:nvGrpSpPr>
              <p:cNvPr id="26" name="Group 6"/>
              <p:cNvGrpSpPr>
                <a:grpSpLocks/>
              </p:cNvGrpSpPr>
              <p:nvPr>
                <p:custDataLst>
                  <p:tags r:id="rId15"/>
                </p:custDataLst>
              </p:nvPr>
            </p:nvGrpSpPr>
            <p:grpSpPr bwMode="auto">
              <a:xfrm>
                <a:off x="6349109" y="3802821"/>
                <a:ext cx="176253" cy="529795"/>
                <a:chOff x="782" y="1139"/>
                <a:chExt cx="170" cy="511"/>
              </a:xfrm>
            </p:grpSpPr>
            <p:sp>
              <p:nvSpPr>
                <p:cNvPr id="158" name="Oval 7"/>
                <p:cNvSpPr>
                  <a:spLocks noChangeArrowheads="1"/>
                </p:cNvSpPr>
                <p:nvPr/>
              </p:nvSpPr>
              <p:spPr bwMode="gray">
                <a:xfrm>
                  <a:off x="783" y="1253"/>
                  <a:ext cx="170" cy="170"/>
                </a:xfrm>
                <a:prstGeom prst="ellipse">
                  <a:avLst/>
                </a:prstGeom>
                <a:noFill/>
                <a:ln w="19050" algn="ctr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>
                  <a:lvl1pPr eaLnBrk="0" hangingPunct="0">
                    <a:buChar char="&gt;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1pPr>
                  <a:lvl2pPr marL="742950" indent="-28575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2pPr>
                  <a:lvl3pPr marL="11430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3pPr>
                  <a:lvl4pPr marL="1600200" indent="-22860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4pPr>
                  <a:lvl5pPr marL="20574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9pPr>
                </a:lstStyle>
                <a:p>
                  <a:pPr eaLnBrk="1" fontAlgn="auto" hangingPunct="1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altLang="de-DE" sz="1800" kern="0" dirty="0" smtClean="0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59" name="Oval 8"/>
                <p:cNvSpPr>
                  <a:spLocks noChangeArrowheads="1"/>
                </p:cNvSpPr>
                <p:nvPr/>
              </p:nvSpPr>
              <p:spPr bwMode="gray">
                <a:xfrm>
                  <a:off x="783" y="1366"/>
                  <a:ext cx="170" cy="170"/>
                </a:xfrm>
                <a:prstGeom prst="ellipse">
                  <a:avLst/>
                </a:prstGeom>
                <a:noFill/>
                <a:ln w="19050" algn="ctr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>
                  <a:lvl1pPr eaLnBrk="0" hangingPunct="0">
                    <a:buChar char="&gt;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1pPr>
                  <a:lvl2pPr marL="742950" indent="-28575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2pPr>
                  <a:lvl3pPr marL="11430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3pPr>
                  <a:lvl4pPr marL="1600200" indent="-22860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4pPr>
                  <a:lvl5pPr marL="20574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9pPr>
                </a:lstStyle>
                <a:p>
                  <a:pPr eaLnBrk="1" fontAlgn="auto" hangingPunct="1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altLang="de-DE" sz="1800" kern="0" dirty="0" smtClean="0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60" name="Line 9"/>
                <p:cNvSpPr>
                  <a:spLocks noChangeShapeType="1"/>
                </p:cNvSpPr>
                <p:nvPr/>
              </p:nvSpPr>
              <p:spPr bwMode="gray">
                <a:xfrm>
                  <a:off x="870" y="1536"/>
                  <a:ext cx="0" cy="114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161" name="Line 10"/>
                <p:cNvSpPr>
                  <a:spLocks noChangeShapeType="1"/>
                </p:cNvSpPr>
                <p:nvPr/>
              </p:nvSpPr>
              <p:spPr bwMode="gray">
                <a:xfrm>
                  <a:off x="870" y="1139"/>
                  <a:ext cx="0" cy="114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</p:grpSp>
          <p:grpSp>
            <p:nvGrpSpPr>
              <p:cNvPr id="27" name="Group 6"/>
              <p:cNvGrpSpPr>
                <a:grpSpLocks/>
              </p:cNvGrpSpPr>
              <p:nvPr>
                <p:custDataLst>
                  <p:tags r:id="rId16"/>
                </p:custDataLst>
              </p:nvPr>
            </p:nvGrpSpPr>
            <p:grpSpPr bwMode="auto">
              <a:xfrm>
                <a:off x="7304473" y="3802821"/>
                <a:ext cx="176253" cy="529795"/>
                <a:chOff x="782" y="1139"/>
                <a:chExt cx="170" cy="511"/>
              </a:xfrm>
            </p:grpSpPr>
            <p:sp>
              <p:nvSpPr>
                <p:cNvPr id="154" name="Oval 7"/>
                <p:cNvSpPr>
                  <a:spLocks noChangeArrowheads="1"/>
                </p:cNvSpPr>
                <p:nvPr/>
              </p:nvSpPr>
              <p:spPr bwMode="gray">
                <a:xfrm>
                  <a:off x="782" y="1253"/>
                  <a:ext cx="170" cy="170"/>
                </a:xfrm>
                <a:prstGeom prst="ellipse">
                  <a:avLst/>
                </a:prstGeom>
                <a:noFill/>
                <a:ln w="19050" algn="ctr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>
                  <a:lvl1pPr eaLnBrk="0" hangingPunct="0">
                    <a:buChar char="&gt;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1pPr>
                  <a:lvl2pPr marL="742950" indent="-28575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2pPr>
                  <a:lvl3pPr marL="11430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3pPr>
                  <a:lvl4pPr marL="1600200" indent="-22860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4pPr>
                  <a:lvl5pPr marL="20574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9pPr>
                </a:lstStyle>
                <a:p>
                  <a:pPr eaLnBrk="1" fontAlgn="auto" hangingPunct="1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altLang="de-DE" sz="1800" kern="0" dirty="0" smtClean="0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55" name="Oval 8"/>
                <p:cNvSpPr>
                  <a:spLocks noChangeArrowheads="1"/>
                </p:cNvSpPr>
                <p:nvPr/>
              </p:nvSpPr>
              <p:spPr bwMode="gray">
                <a:xfrm>
                  <a:off x="782" y="1366"/>
                  <a:ext cx="170" cy="170"/>
                </a:xfrm>
                <a:prstGeom prst="ellipse">
                  <a:avLst/>
                </a:prstGeom>
                <a:noFill/>
                <a:ln w="19050" algn="ctr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>
                  <a:lvl1pPr eaLnBrk="0" hangingPunct="0">
                    <a:buChar char="&gt;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1pPr>
                  <a:lvl2pPr marL="742950" indent="-28575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2pPr>
                  <a:lvl3pPr marL="11430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3pPr>
                  <a:lvl4pPr marL="1600200" indent="-22860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4pPr>
                  <a:lvl5pPr marL="20574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9pPr>
                </a:lstStyle>
                <a:p>
                  <a:pPr eaLnBrk="1" fontAlgn="auto" hangingPunct="1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altLang="de-DE" sz="1800" kern="0" dirty="0" smtClean="0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56" name="Line 9"/>
                <p:cNvSpPr>
                  <a:spLocks noChangeShapeType="1"/>
                </p:cNvSpPr>
                <p:nvPr/>
              </p:nvSpPr>
              <p:spPr bwMode="gray">
                <a:xfrm>
                  <a:off x="868" y="1536"/>
                  <a:ext cx="0" cy="114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157" name="Line 10"/>
                <p:cNvSpPr>
                  <a:spLocks noChangeShapeType="1"/>
                </p:cNvSpPr>
                <p:nvPr/>
              </p:nvSpPr>
              <p:spPr bwMode="gray">
                <a:xfrm>
                  <a:off x="868" y="1139"/>
                  <a:ext cx="0" cy="114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</p:grpSp>
          <p:grpSp>
            <p:nvGrpSpPr>
              <p:cNvPr id="28" name="Group 6"/>
              <p:cNvGrpSpPr>
                <a:grpSpLocks/>
              </p:cNvGrpSpPr>
              <p:nvPr>
                <p:custDataLst>
                  <p:tags r:id="rId17"/>
                </p:custDataLst>
              </p:nvPr>
            </p:nvGrpSpPr>
            <p:grpSpPr bwMode="auto">
              <a:xfrm>
                <a:off x="8259836" y="3805222"/>
                <a:ext cx="176253" cy="529795"/>
                <a:chOff x="782" y="1139"/>
                <a:chExt cx="170" cy="511"/>
              </a:xfrm>
            </p:grpSpPr>
            <p:sp>
              <p:nvSpPr>
                <p:cNvPr id="150" name="Oval 7"/>
                <p:cNvSpPr>
                  <a:spLocks noChangeArrowheads="1"/>
                </p:cNvSpPr>
                <p:nvPr/>
              </p:nvSpPr>
              <p:spPr bwMode="gray">
                <a:xfrm>
                  <a:off x="782" y="1250"/>
                  <a:ext cx="171" cy="170"/>
                </a:xfrm>
                <a:prstGeom prst="ellipse">
                  <a:avLst/>
                </a:prstGeom>
                <a:noFill/>
                <a:ln w="19050" algn="ctr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>
                  <a:lvl1pPr eaLnBrk="0" hangingPunct="0">
                    <a:buChar char="&gt;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1pPr>
                  <a:lvl2pPr marL="742950" indent="-28575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2pPr>
                  <a:lvl3pPr marL="11430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3pPr>
                  <a:lvl4pPr marL="1600200" indent="-22860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4pPr>
                  <a:lvl5pPr marL="20574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9pPr>
                </a:lstStyle>
                <a:p>
                  <a:pPr eaLnBrk="1" fontAlgn="auto" hangingPunct="1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altLang="de-DE" sz="1800" kern="0" dirty="0" smtClean="0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51" name="Oval 8"/>
                <p:cNvSpPr>
                  <a:spLocks noChangeArrowheads="1"/>
                </p:cNvSpPr>
                <p:nvPr/>
              </p:nvSpPr>
              <p:spPr bwMode="gray">
                <a:xfrm>
                  <a:off x="782" y="1366"/>
                  <a:ext cx="171" cy="170"/>
                </a:xfrm>
                <a:prstGeom prst="ellipse">
                  <a:avLst/>
                </a:prstGeom>
                <a:noFill/>
                <a:ln w="19050" algn="ctr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>
                  <a:lvl1pPr eaLnBrk="0" hangingPunct="0">
                    <a:buChar char="&gt;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1pPr>
                  <a:lvl2pPr marL="742950" indent="-28575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2pPr>
                  <a:lvl3pPr marL="11430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3pPr>
                  <a:lvl4pPr marL="1600200" indent="-22860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4pPr>
                  <a:lvl5pPr marL="20574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9pPr>
                </a:lstStyle>
                <a:p>
                  <a:pPr eaLnBrk="1" fontAlgn="auto" hangingPunct="1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altLang="de-DE" sz="1800" kern="0" dirty="0" smtClean="0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52" name="Line 9"/>
                <p:cNvSpPr>
                  <a:spLocks noChangeShapeType="1"/>
                </p:cNvSpPr>
                <p:nvPr/>
              </p:nvSpPr>
              <p:spPr bwMode="gray">
                <a:xfrm>
                  <a:off x="867" y="1536"/>
                  <a:ext cx="0" cy="114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153" name="Line 10"/>
                <p:cNvSpPr>
                  <a:spLocks noChangeShapeType="1"/>
                </p:cNvSpPr>
                <p:nvPr/>
              </p:nvSpPr>
              <p:spPr bwMode="gray">
                <a:xfrm>
                  <a:off x="867" y="1139"/>
                  <a:ext cx="0" cy="114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</p:grpSp>
          <p:grpSp>
            <p:nvGrpSpPr>
              <p:cNvPr id="29" name="Gruppieren 136"/>
              <p:cNvGrpSpPr>
                <a:grpSpLocks/>
              </p:cNvGrpSpPr>
              <p:nvPr>
                <p:custDataLst>
                  <p:tags r:id="rId18"/>
                </p:custDataLst>
              </p:nvPr>
            </p:nvGrpSpPr>
            <p:grpSpPr bwMode="auto">
              <a:xfrm>
                <a:off x="6107451" y="4331741"/>
                <a:ext cx="665202" cy="366503"/>
                <a:chOff x="1087727" y="4216327"/>
                <a:chExt cx="665202" cy="366503"/>
              </a:xfrm>
            </p:grpSpPr>
            <p:sp>
              <p:nvSpPr>
                <p:cNvPr id="147" name="Line 84"/>
                <p:cNvSpPr>
                  <a:spLocks noChangeShapeType="1"/>
                </p:cNvSpPr>
                <p:nvPr/>
              </p:nvSpPr>
              <p:spPr bwMode="gray">
                <a:xfrm>
                  <a:off x="1088051" y="4216753"/>
                  <a:ext cx="664540" cy="0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148" name="Line 72"/>
                <p:cNvSpPr>
                  <a:spLocks noChangeShapeType="1"/>
                </p:cNvSpPr>
                <p:nvPr/>
              </p:nvSpPr>
              <p:spPr bwMode="gray">
                <a:xfrm>
                  <a:off x="1243499" y="4223253"/>
                  <a:ext cx="0" cy="359363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149" name="Line 72"/>
                <p:cNvSpPr>
                  <a:spLocks noChangeShapeType="1"/>
                </p:cNvSpPr>
                <p:nvPr/>
              </p:nvSpPr>
              <p:spPr bwMode="gray">
                <a:xfrm>
                  <a:off x="1597143" y="4223253"/>
                  <a:ext cx="0" cy="359363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</p:grpSp>
          <p:sp>
            <p:nvSpPr>
              <p:cNvPr id="30" name="Bogen 29"/>
              <p:cNvSpPr/>
              <p:nvPr>
                <p:custDataLst>
                  <p:tags r:id="rId19"/>
                </p:custDataLst>
              </p:nvPr>
            </p:nvSpPr>
            <p:spPr bwMode="auto">
              <a:xfrm>
                <a:off x="6408955" y="3313509"/>
                <a:ext cx="1021099" cy="1019587"/>
              </a:xfrm>
              <a:prstGeom prst="arc">
                <a:avLst>
                  <a:gd name="adj1" fmla="val 11129714"/>
                  <a:gd name="adj2" fmla="val 21244126"/>
                </a:avLst>
              </a:prstGeom>
              <a:noFill/>
              <a:ln w="38100" cap="flat" cmpd="sng" algn="ctr">
                <a:solidFill>
                  <a:srgbClr val="92D050"/>
                </a:solidFill>
                <a:prstDash val="solid"/>
                <a:round/>
                <a:headEnd type="arrow" w="med" len="sm"/>
                <a:tailEnd type="arrow" w="med" len="sm"/>
              </a:ln>
              <a:effectLst/>
            </p:spPr>
            <p:txBody>
              <a:bodyPr wrap="none" lIns="90000" tIns="46800" rIns="90000" bIns="46800" anchor="ctr"/>
              <a:lstStyle/>
              <a:p>
                <a:pPr algn="ctr" fontAlgn="auto">
                  <a:spcBef>
                    <a:spcPts val="0"/>
                  </a:spcBef>
                  <a:spcAft>
                    <a:spcPct val="100000"/>
                  </a:spcAft>
                  <a:buClr>
                    <a:srgbClr val="0050A6"/>
                  </a:buClr>
                  <a:buFont typeface="Arial" pitchFamily="23" charset="0"/>
                  <a:buNone/>
                  <a:defRPr/>
                </a:pPr>
                <a:endParaRPr lang="de-DE" kern="0" dirty="0">
                  <a:solidFill>
                    <a:srgbClr val="000000"/>
                  </a:solidFill>
                  <a:latin typeface="Calibri" panose="020F0502020204030204" pitchFamily="34" charset="0"/>
                  <a:cs typeface="Arial"/>
                </a:endParaRPr>
              </a:p>
            </p:txBody>
          </p:sp>
          <p:grpSp>
            <p:nvGrpSpPr>
              <p:cNvPr id="31" name="Gruppieren 30"/>
              <p:cNvGrpSpPr/>
              <p:nvPr>
                <p:custDataLst>
                  <p:tags r:id="rId20"/>
                </p:custDataLst>
              </p:nvPr>
            </p:nvGrpSpPr>
            <p:grpSpPr>
              <a:xfrm>
                <a:off x="8210167" y="4614924"/>
                <a:ext cx="275208" cy="296347"/>
                <a:chOff x="3915054" y="4722296"/>
                <a:chExt cx="275208" cy="296347"/>
              </a:xfrm>
              <a:solidFill>
                <a:srgbClr val="3D67AE"/>
              </a:solidFill>
            </p:grpSpPr>
            <p:sp>
              <p:nvSpPr>
                <p:cNvPr id="144" name="Rechteck 143"/>
                <p:cNvSpPr/>
                <p:nvPr/>
              </p:nvSpPr>
              <p:spPr bwMode="auto">
                <a:xfrm>
                  <a:off x="3981181" y="4889500"/>
                  <a:ext cx="142955" cy="129143"/>
                </a:xfrm>
                <a:prstGeom prst="rect">
                  <a:avLst/>
                </a:prstGeom>
                <a:grpFill/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145" name="Gleichschenkliges Dreieck 144"/>
                <p:cNvSpPr/>
                <p:nvPr/>
              </p:nvSpPr>
              <p:spPr bwMode="auto">
                <a:xfrm>
                  <a:off x="3915054" y="4729902"/>
                  <a:ext cx="275208" cy="159598"/>
                </a:xfrm>
                <a:prstGeom prst="triangle">
                  <a:avLst/>
                </a:prstGeom>
                <a:grpFill/>
                <a:ln w="6350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146" name="Rechteck 145"/>
                <p:cNvSpPr/>
                <p:nvPr/>
              </p:nvSpPr>
              <p:spPr bwMode="auto">
                <a:xfrm>
                  <a:off x="4086241" y="4722296"/>
                  <a:ext cx="45719" cy="129143"/>
                </a:xfrm>
                <a:prstGeom prst="rect">
                  <a:avLst/>
                </a:prstGeom>
                <a:grpFill/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</p:grpSp>
          <p:grpSp>
            <p:nvGrpSpPr>
              <p:cNvPr id="32" name="Gruppieren 31"/>
              <p:cNvGrpSpPr/>
              <p:nvPr>
                <p:custDataLst>
                  <p:tags r:id="rId21"/>
                </p:custDataLst>
              </p:nvPr>
            </p:nvGrpSpPr>
            <p:grpSpPr>
              <a:xfrm>
                <a:off x="7456751" y="2864307"/>
                <a:ext cx="474157" cy="327506"/>
                <a:chOff x="3976870" y="4597329"/>
                <a:chExt cx="474157" cy="327506"/>
              </a:xfrm>
              <a:solidFill>
                <a:srgbClr val="3D67AE"/>
              </a:solidFill>
            </p:grpSpPr>
            <p:sp>
              <p:nvSpPr>
                <p:cNvPr id="139" name="Rechteck 138"/>
                <p:cNvSpPr/>
                <p:nvPr/>
              </p:nvSpPr>
              <p:spPr bwMode="auto">
                <a:xfrm>
                  <a:off x="4027703" y="4795691"/>
                  <a:ext cx="423324" cy="129143"/>
                </a:xfrm>
                <a:prstGeom prst="rect">
                  <a:avLst/>
                </a:prstGeom>
                <a:grpFill/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140" name="Rechteck 139"/>
                <p:cNvSpPr/>
                <p:nvPr/>
              </p:nvSpPr>
              <p:spPr bwMode="auto">
                <a:xfrm>
                  <a:off x="3976870" y="4597329"/>
                  <a:ext cx="80780" cy="327506"/>
                </a:xfrm>
                <a:prstGeom prst="rect">
                  <a:avLst/>
                </a:prstGeom>
                <a:grpFill/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141" name="Gleichschenkliges Dreieck 140"/>
                <p:cNvSpPr/>
                <p:nvPr/>
              </p:nvSpPr>
              <p:spPr bwMode="auto">
                <a:xfrm rot="12600000">
                  <a:off x="4284196" y="4750107"/>
                  <a:ext cx="145256" cy="125221"/>
                </a:xfrm>
                <a:prstGeom prst="triangle">
                  <a:avLst/>
                </a:prstGeom>
                <a:grpFill/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142" name="Gleichschenkliges Dreieck 141"/>
                <p:cNvSpPr/>
                <p:nvPr/>
              </p:nvSpPr>
              <p:spPr bwMode="auto">
                <a:xfrm rot="12600000">
                  <a:off x="4033371" y="4750107"/>
                  <a:ext cx="145256" cy="125221"/>
                </a:xfrm>
                <a:prstGeom prst="triangle">
                  <a:avLst/>
                </a:prstGeom>
                <a:grpFill/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143" name="Gleichschenkliges Dreieck 142"/>
                <p:cNvSpPr/>
                <p:nvPr/>
              </p:nvSpPr>
              <p:spPr bwMode="auto">
                <a:xfrm rot="12600000">
                  <a:off x="4158242" y="4748689"/>
                  <a:ext cx="145256" cy="125221"/>
                </a:xfrm>
                <a:prstGeom prst="triangle">
                  <a:avLst/>
                </a:prstGeom>
                <a:grpFill/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</p:grpSp>
          <p:grpSp>
            <p:nvGrpSpPr>
              <p:cNvPr id="33" name="Gruppieren 32"/>
              <p:cNvGrpSpPr/>
              <p:nvPr>
                <p:custDataLst>
                  <p:tags r:id="rId22"/>
                </p:custDataLst>
              </p:nvPr>
            </p:nvGrpSpPr>
            <p:grpSpPr>
              <a:xfrm>
                <a:off x="7252795" y="4614924"/>
                <a:ext cx="275208" cy="296347"/>
                <a:chOff x="3915054" y="4722296"/>
                <a:chExt cx="275208" cy="296347"/>
              </a:xfrm>
              <a:solidFill>
                <a:srgbClr val="3D67AE"/>
              </a:solidFill>
            </p:grpSpPr>
            <p:sp>
              <p:nvSpPr>
                <p:cNvPr id="136" name="Rechteck 135"/>
                <p:cNvSpPr/>
                <p:nvPr/>
              </p:nvSpPr>
              <p:spPr bwMode="auto">
                <a:xfrm>
                  <a:off x="3981181" y="4889500"/>
                  <a:ext cx="142955" cy="129143"/>
                </a:xfrm>
                <a:prstGeom prst="rect">
                  <a:avLst/>
                </a:prstGeom>
                <a:grpFill/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137" name="Gleichschenkliges Dreieck 136"/>
                <p:cNvSpPr/>
                <p:nvPr/>
              </p:nvSpPr>
              <p:spPr bwMode="auto">
                <a:xfrm>
                  <a:off x="3915054" y="4729902"/>
                  <a:ext cx="275208" cy="159598"/>
                </a:xfrm>
                <a:prstGeom prst="triangle">
                  <a:avLst/>
                </a:prstGeom>
                <a:grpFill/>
                <a:ln w="6350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138" name="Rechteck 137"/>
                <p:cNvSpPr/>
                <p:nvPr/>
              </p:nvSpPr>
              <p:spPr bwMode="auto">
                <a:xfrm>
                  <a:off x="4086241" y="4722296"/>
                  <a:ext cx="45719" cy="129143"/>
                </a:xfrm>
                <a:prstGeom prst="rect">
                  <a:avLst/>
                </a:prstGeom>
                <a:grpFill/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</p:grpSp>
          <p:grpSp>
            <p:nvGrpSpPr>
              <p:cNvPr id="34" name="Gruppieren 33"/>
              <p:cNvGrpSpPr/>
              <p:nvPr>
                <p:custDataLst>
                  <p:tags r:id="rId23"/>
                </p:custDataLst>
              </p:nvPr>
            </p:nvGrpSpPr>
            <p:grpSpPr>
              <a:xfrm>
                <a:off x="6295424" y="4614924"/>
                <a:ext cx="275208" cy="296347"/>
                <a:chOff x="3915054" y="4722296"/>
                <a:chExt cx="275208" cy="296347"/>
              </a:xfrm>
              <a:solidFill>
                <a:srgbClr val="3D67AE"/>
              </a:solidFill>
            </p:grpSpPr>
            <p:sp>
              <p:nvSpPr>
                <p:cNvPr id="133" name="Rechteck 132"/>
                <p:cNvSpPr/>
                <p:nvPr/>
              </p:nvSpPr>
              <p:spPr bwMode="auto">
                <a:xfrm>
                  <a:off x="3981181" y="4889500"/>
                  <a:ext cx="142955" cy="129143"/>
                </a:xfrm>
                <a:prstGeom prst="rect">
                  <a:avLst/>
                </a:prstGeom>
                <a:grpFill/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134" name="Gleichschenkliges Dreieck 133"/>
                <p:cNvSpPr/>
                <p:nvPr/>
              </p:nvSpPr>
              <p:spPr bwMode="auto">
                <a:xfrm>
                  <a:off x="3915054" y="4729902"/>
                  <a:ext cx="275208" cy="159598"/>
                </a:xfrm>
                <a:prstGeom prst="triangle">
                  <a:avLst/>
                </a:prstGeom>
                <a:grpFill/>
                <a:ln w="6350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135" name="Rechteck 134"/>
                <p:cNvSpPr/>
                <p:nvPr/>
              </p:nvSpPr>
              <p:spPr bwMode="auto">
                <a:xfrm>
                  <a:off x="4086241" y="4722296"/>
                  <a:ext cx="45719" cy="129143"/>
                </a:xfrm>
                <a:prstGeom prst="rect">
                  <a:avLst/>
                </a:prstGeom>
                <a:grpFill/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</p:grpSp>
          <p:grpSp>
            <p:nvGrpSpPr>
              <p:cNvPr id="35" name="Gruppieren 34"/>
              <p:cNvGrpSpPr/>
              <p:nvPr>
                <p:custDataLst>
                  <p:tags r:id="rId24"/>
                </p:custDataLst>
              </p:nvPr>
            </p:nvGrpSpPr>
            <p:grpSpPr>
              <a:xfrm>
                <a:off x="5338053" y="4614924"/>
                <a:ext cx="275208" cy="296347"/>
                <a:chOff x="3915054" y="4722296"/>
                <a:chExt cx="275208" cy="296347"/>
              </a:xfrm>
              <a:solidFill>
                <a:srgbClr val="3D67AE"/>
              </a:solidFill>
            </p:grpSpPr>
            <p:sp>
              <p:nvSpPr>
                <p:cNvPr id="130" name="Rechteck 129"/>
                <p:cNvSpPr/>
                <p:nvPr/>
              </p:nvSpPr>
              <p:spPr bwMode="auto">
                <a:xfrm>
                  <a:off x="3981181" y="4889500"/>
                  <a:ext cx="142955" cy="129143"/>
                </a:xfrm>
                <a:prstGeom prst="rect">
                  <a:avLst/>
                </a:prstGeom>
                <a:grpFill/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131" name="Gleichschenkliges Dreieck 130"/>
                <p:cNvSpPr/>
                <p:nvPr/>
              </p:nvSpPr>
              <p:spPr bwMode="auto">
                <a:xfrm>
                  <a:off x="3915054" y="4729902"/>
                  <a:ext cx="275208" cy="159598"/>
                </a:xfrm>
                <a:prstGeom prst="triangle">
                  <a:avLst/>
                </a:prstGeom>
                <a:grpFill/>
                <a:ln w="6350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132" name="Rechteck 131"/>
                <p:cNvSpPr/>
                <p:nvPr/>
              </p:nvSpPr>
              <p:spPr bwMode="auto">
                <a:xfrm>
                  <a:off x="4086241" y="4722296"/>
                  <a:ext cx="45719" cy="129143"/>
                </a:xfrm>
                <a:prstGeom prst="rect">
                  <a:avLst/>
                </a:prstGeom>
                <a:grpFill/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</p:grpSp>
          <p:grpSp>
            <p:nvGrpSpPr>
              <p:cNvPr id="36" name="Gruppieren 35"/>
              <p:cNvGrpSpPr/>
              <p:nvPr>
                <p:custDataLst>
                  <p:tags r:id="rId25"/>
                </p:custDataLst>
              </p:nvPr>
            </p:nvGrpSpPr>
            <p:grpSpPr>
              <a:xfrm>
                <a:off x="8144275" y="3401539"/>
                <a:ext cx="348203" cy="327506"/>
                <a:chOff x="3976870" y="4597329"/>
                <a:chExt cx="348203" cy="327506"/>
              </a:xfrm>
              <a:solidFill>
                <a:srgbClr val="3D67AE"/>
              </a:solidFill>
            </p:grpSpPr>
            <p:sp>
              <p:nvSpPr>
                <p:cNvPr id="126" name="Rechteck 125"/>
                <p:cNvSpPr/>
                <p:nvPr/>
              </p:nvSpPr>
              <p:spPr bwMode="auto">
                <a:xfrm>
                  <a:off x="4027703" y="4795691"/>
                  <a:ext cx="297370" cy="129143"/>
                </a:xfrm>
                <a:prstGeom prst="rect">
                  <a:avLst/>
                </a:prstGeom>
                <a:grpFill/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127" name="Rechteck 126"/>
                <p:cNvSpPr/>
                <p:nvPr/>
              </p:nvSpPr>
              <p:spPr bwMode="auto">
                <a:xfrm>
                  <a:off x="3976870" y="4597329"/>
                  <a:ext cx="80780" cy="327506"/>
                </a:xfrm>
                <a:prstGeom prst="rect">
                  <a:avLst/>
                </a:prstGeom>
                <a:grpFill/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128" name="Gleichschenkliges Dreieck 127"/>
                <p:cNvSpPr/>
                <p:nvPr/>
              </p:nvSpPr>
              <p:spPr bwMode="auto">
                <a:xfrm rot="12600000">
                  <a:off x="4033371" y="4750107"/>
                  <a:ext cx="145256" cy="125221"/>
                </a:xfrm>
                <a:prstGeom prst="triangle">
                  <a:avLst/>
                </a:prstGeom>
                <a:grpFill/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129" name="Gleichschenkliges Dreieck 128"/>
                <p:cNvSpPr/>
                <p:nvPr/>
              </p:nvSpPr>
              <p:spPr bwMode="auto">
                <a:xfrm rot="12600000">
                  <a:off x="4158242" y="4748689"/>
                  <a:ext cx="145256" cy="125221"/>
                </a:xfrm>
                <a:prstGeom prst="triangle">
                  <a:avLst/>
                </a:prstGeom>
                <a:grpFill/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</p:grpSp>
          <p:grpSp>
            <p:nvGrpSpPr>
              <p:cNvPr id="37" name="Gruppieren 144"/>
              <p:cNvGrpSpPr>
                <a:grpSpLocks/>
              </p:cNvGrpSpPr>
              <p:nvPr>
                <p:custDataLst>
                  <p:tags r:id="rId26"/>
                </p:custDataLst>
              </p:nvPr>
            </p:nvGrpSpPr>
            <p:grpSpPr bwMode="auto">
              <a:xfrm>
                <a:off x="5730508" y="4542149"/>
                <a:ext cx="447669" cy="479957"/>
                <a:chOff x="5270379" y="2372409"/>
                <a:chExt cx="1076319" cy="1153948"/>
              </a:xfrm>
            </p:grpSpPr>
            <p:sp>
              <p:nvSpPr>
                <p:cNvPr id="121" name="Flussdiagramm: Daten 228"/>
                <p:cNvSpPr>
                  <a:spLocks noChangeArrowheads="1"/>
                </p:cNvSpPr>
                <p:nvPr/>
              </p:nvSpPr>
              <p:spPr bwMode="auto">
                <a:xfrm flipH="1">
                  <a:off x="5271113" y="2749422"/>
                  <a:ext cx="948365" cy="504561"/>
                </a:xfrm>
                <a:prstGeom prst="flowChartInputOutput">
                  <a:avLst/>
                </a:prstGeom>
                <a:solidFill>
                  <a:srgbClr val="92D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6350" algn="ctr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lIns="90000" tIns="46800" rIns="90000" bIns="46800" anchor="ctr"/>
                <a:lstStyle>
                  <a:lvl1pPr marL="266700" indent="-266700" eaLnBrk="0" hangingPunct="0">
                    <a:buChar char="&gt;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1pPr>
                  <a:lvl2pPr marL="742950" indent="-28575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2pPr>
                  <a:lvl3pPr marL="11430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3pPr>
                  <a:lvl4pPr marL="1600200" indent="-22860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4pPr>
                  <a:lvl5pPr marL="20574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9pPr>
                </a:lstStyle>
                <a:p>
                  <a:pPr algn="ctr" eaLnBrk="1" fontAlgn="auto" hangingPunct="1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altLang="de-DE" kern="0" dirty="0" smtClean="0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22" name="Freihandform 229"/>
                <p:cNvSpPr>
                  <a:spLocks/>
                </p:cNvSpPr>
                <p:nvPr/>
              </p:nvSpPr>
              <p:spPr bwMode="auto">
                <a:xfrm>
                  <a:off x="5516379" y="2655654"/>
                  <a:ext cx="254611" cy="692097"/>
                </a:xfrm>
                <a:custGeom>
                  <a:avLst/>
                  <a:gdLst>
                    <a:gd name="T0" fmla="*/ 0 w 161925"/>
                    <a:gd name="T1" fmla="*/ 0 h 352425"/>
                    <a:gd name="T2" fmla="*/ 403069 w 161925"/>
                    <a:gd name="T3" fmla="*/ 1361448 h 352425"/>
                    <a:gd name="T4" fmla="*/ 0 60000 65536"/>
                    <a:gd name="T5" fmla="*/ 0 60000 655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0" t="0" r="r" b="b"/>
                  <a:pathLst>
                    <a:path w="161925" h="352425">
                      <a:moveTo>
                        <a:pt x="0" y="0"/>
                      </a:moveTo>
                      <a:lnTo>
                        <a:pt x="161925" y="352425"/>
                      </a:lnTo>
                    </a:path>
                  </a:pathLst>
                </a:custGeom>
                <a:noFill/>
                <a:ln w="6350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123" name="Freihandform 230"/>
                <p:cNvSpPr>
                  <a:spLocks/>
                </p:cNvSpPr>
                <p:nvPr/>
              </p:nvSpPr>
              <p:spPr bwMode="auto">
                <a:xfrm>
                  <a:off x="5770990" y="2720399"/>
                  <a:ext cx="296655" cy="805958"/>
                </a:xfrm>
                <a:custGeom>
                  <a:avLst/>
                  <a:gdLst>
                    <a:gd name="T0" fmla="*/ 0 w 161925"/>
                    <a:gd name="T1" fmla="*/ 0 h 352425"/>
                    <a:gd name="T2" fmla="*/ 544642 w 161925"/>
                    <a:gd name="T3" fmla="*/ 1839660 h 352425"/>
                    <a:gd name="T4" fmla="*/ 0 60000 65536"/>
                    <a:gd name="T5" fmla="*/ 0 60000 655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0" t="0" r="r" b="b"/>
                  <a:pathLst>
                    <a:path w="161925" h="352425">
                      <a:moveTo>
                        <a:pt x="0" y="0"/>
                      </a:moveTo>
                      <a:lnTo>
                        <a:pt x="161925" y="352425"/>
                      </a:lnTo>
                    </a:path>
                  </a:pathLst>
                </a:custGeom>
                <a:noFill/>
                <a:ln w="6350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124" name="Freihandform 231"/>
                <p:cNvSpPr>
                  <a:spLocks/>
                </p:cNvSpPr>
                <p:nvPr/>
              </p:nvSpPr>
              <p:spPr bwMode="auto">
                <a:xfrm>
                  <a:off x="5341189" y="2990540"/>
                  <a:ext cx="812884" cy="46885"/>
                </a:xfrm>
                <a:custGeom>
                  <a:avLst/>
                  <a:gdLst>
                    <a:gd name="T0" fmla="*/ 0 w 640557"/>
                    <a:gd name="T1" fmla="*/ 0 h 45719"/>
                    <a:gd name="T2" fmla="*/ 1033651 w 640557"/>
                    <a:gd name="T3" fmla="*/ 0 h 45719"/>
                    <a:gd name="T4" fmla="*/ 0 60000 65536"/>
                    <a:gd name="T5" fmla="*/ 0 60000 655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0" t="0" r="r" b="b"/>
                  <a:pathLst>
                    <a:path w="640557" h="45719">
                      <a:moveTo>
                        <a:pt x="0" y="0"/>
                      </a:moveTo>
                      <a:lnTo>
                        <a:pt x="640557" y="0"/>
                      </a:lnTo>
                    </a:path>
                  </a:pathLst>
                </a:custGeom>
                <a:noFill/>
                <a:ln w="6350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125" name="Sonne 232"/>
                <p:cNvSpPr>
                  <a:spLocks noChangeArrowheads="1"/>
                </p:cNvSpPr>
                <p:nvPr/>
              </p:nvSpPr>
              <p:spPr bwMode="auto">
                <a:xfrm>
                  <a:off x="5719601" y="2372118"/>
                  <a:ext cx="633021" cy="629585"/>
                </a:xfrm>
                <a:prstGeom prst="sun">
                  <a:avLst>
                    <a:gd name="adj" fmla="val 25000"/>
                  </a:avLst>
                </a:prstGeom>
                <a:solidFill>
                  <a:srgbClr val="92D050"/>
                </a:solidFill>
                <a:ln w="12700" algn="ctr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lIns="90000" tIns="46800" rIns="90000" bIns="46800" anchor="ctr"/>
                <a:lstStyle>
                  <a:lvl1pPr marL="266700" indent="-266700" eaLnBrk="0" hangingPunct="0">
                    <a:buChar char="&gt;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1pPr>
                  <a:lvl2pPr marL="742950" indent="-28575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2pPr>
                  <a:lvl3pPr marL="11430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3pPr>
                  <a:lvl4pPr marL="1600200" indent="-22860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4pPr>
                  <a:lvl5pPr marL="20574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9pPr>
                </a:lstStyle>
                <a:p>
                  <a:pPr algn="ctr" eaLnBrk="1" fontAlgn="auto" hangingPunct="1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altLang="de-DE" kern="0" dirty="0" smtClean="0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</p:grpSp>
          <p:grpSp>
            <p:nvGrpSpPr>
              <p:cNvPr id="38" name="Gruppieren 145"/>
              <p:cNvGrpSpPr>
                <a:grpSpLocks/>
              </p:cNvGrpSpPr>
              <p:nvPr>
                <p:custDataLst>
                  <p:tags r:id="rId27"/>
                </p:custDataLst>
              </p:nvPr>
            </p:nvGrpSpPr>
            <p:grpSpPr bwMode="auto">
              <a:xfrm>
                <a:off x="6687879" y="4542149"/>
                <a:ext cx="447669" cy="479957"/>
                <a:chOff x="5270379" y="2372409"/>
                <a:chExt cx="1076319" cy="1153948"/>
              </a:xfrm>
            </p:grpSpPr>
            <p:sp>
              <p:nvSpPr>
                <p:cNvPr id="116" name="Flussdiagramm: Daten 223"/>
                <p:cNvSpPr>
                  <a:spLocks noChangeArrowheads="1"/>
                </p:cNvSpPr>
                <p:nvPr/>
              </p:nvSpPr>
              <p:spPr bwMode="auto">
                <a:xfrm flipH="1">
                  <a:off x="5270164" y="2749422"/>
                  <a:ext cx="943693" cy="504561"/>
                </a:xfrm>
                <a:prstGeom prst="flowChartInputOutput">
                  <a:avLst/>
                </a:prstGeom>
                <a:solidFill>
                  <a:srgbClr val="92D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6350" algn="ctr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lIns="90000" tIns="46800" rIns="90000" bIns="46800" anchor="ctr"/>
                <a:lstStyle>
                  <a:lvl1pPr marL="266700" indent="-266700" eaLnBrk="0" hangingPunct="0">
                    <a:buChar char="&gt;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1pPr>
                  <a:lvl2pPr marL="742950" indent="-28575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2pPr>
                  <a:lvl3pPr marL="11430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3pPr>
                  <a:lvl4pPr marL="1600200" indent="-22860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4pPr>
                  <a:lvl5pPr marL="20574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9pPr>
                </a:lstStyle>
                <a:p>
                  <a:pPr algn="ctr" eaLnBrk="1" fontAlgn="auto" hangingPunct="1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altLang="de-DE" kern="0" dirty="0" smtClean="0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17" name="Freihandform 224"/>
                <p:cNvSpPr>
                  <a:spLocks/>
                </p:cNvSpPr>
                <p:nvPr/>
              </p:nvSpPr>
              <p:spPr bwMode="auto">
                <a:xfrm>
                  <a:off x="5515432" y="2655654"/>
                  <a:ext cx="254609" cy="692097"/>
                </a:xfrm>
                <a:custGeom>
                  <a:avLst/>
                  <a:gdLst>
                    <a:gd name="T0" fmla="*/ 0 w 161925"/>
                    <a:gd name="T1" fmla="*/ 0 h 352425"/>
                    <a:gd name="T2" fmla="*/ 403069 w 161925"/>
                    <a:gd name="T3" fmla="*/ 1361448 h 352425"/>
                    <a:gd name="T4" fmla="*/ 0 60000 65536"/>
                    <a:gd name="T5" fmla="*/ 0 60000 655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0" t="0" r="r" b="b"/>
                  <a:pathLst>
                    <a:path w="161925" h="352425">
                      <a:moveTo>
                        <a:pt x="0" y="0"/>
                      </a:moveTo>
                      <a:lnTo>
                        <a:pt x="161925" y="352425"/>
                      </a:lnTo>
                    </a:path>
                  </a:pathLst>
                </a:custGeom>
                <a:noFill/>
                <a:ln w="6350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118" name="Freihandform 225"/>
                <p:cNvSpPr>
                  <a:spLocks/>
                </p:cNvSpPr>
                <p:nvPr/>
              </p:nvSpPr>
              <p:spPr bwMode="auto">
                <a:xfrm>
                  <a:off x="5770041" y="2720399"/>
                  <a:ext cx="296657" cy="805958"/>
                </a:xfrm>
                <a:custGeom>
                  <a:avLst/>
                  <a:gdLst>
                    <a:gd name="T0" fmla="*/ 0 w 161925"/>
                    <a:gd name="T1" fmla="*/ 0 h 352425"/>
                    <a:gd name="T2" fmla="*/ 544642 w 161925"/>
                    <a:gd name="T3" fmla="*/ 1839660 h 352425"/>
                    <a:gd name="T4" fmla="*/ 0 60000 65536"/>
                    <a:gd name="T5" fmla="*/ 0 60000 655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0" t="0" r="r" b="b"/>
                  <a:pathLst>
                    <a:path w="161925" h="352425">
                      <a:moveTo>
                        <a:pt x="0" y="0"/>
                      </a:moveTo>
                      <a:lnTo>
                        <a:pt x="161925" y="352425"/>
                      </a:lnTo>
                    </a:path>
                  </a:pathLst>
                </a:custGeom>
                <a:noFill/>
                <a:ln w="6350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119" name="Freihandform 226"/>
                <p:cNvSpPr>
                  <a:spLocks/>
                </p:cNvSpPr>
                <p:nvPr/>
              </p:nvSpPr>
              <p:spPr bwMode="auto">
                <a:xfrm>
                  <a:off x="5340240" y="2990540"/>
                  <a:ext cx="812884" cy="46885"/>
                </a:xfrm>
                <a:custGeom>
                  <a:avLst/>
                  <a:gdLst>
                    <a:gd name="T0" fmla="*/ 0 w 640557"/>
                    <a:gd name="T1" fmla="*/ 0 h 45719"/>
                    <a:gd name="T2" fmla="*/ 1033651 w 640557"/>
                    <a:gd name="T3" fmla="*/ 0 h 45719"/>
                    <a:gd name="T4" fmla="*/ 0 60000 65536"/>
                    <a:gd name="T5" fmla="*/ 0 60000 655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0" t="0" r="r" b="b"/>
                  <a:pathLst>
                    <a:path w="640557" h="45719">
                      <a:moveTo>
                        <a:pt x="0" y="0"/>
                      </a:moveTo>
                      <a:lnTo>
                        <a:pt x="640557" y="0"/>
                      </a:lnTo>
                    </a:path>
                  </a:pathLst>
                </a:custGeom>
                <a:noFill/>
                <a:ln w="6350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120" name="Sonne 227"/>
                <p:cNvSpPr>
                  <a:spLocks noChangeArrowheads="1"/>
                </p:cNvSpPr>
                <p:nvPr/>
              </p:nvSpPr>
              <p:spPr bwMode="auto">
                <a:xfrm>
                  <a:off x="5718652" y="2372118"/>
                  <a:ext cx="628351" cy="629585"/>
                </a:xfrm>
                <a:prstGeom prst="sun">
                  <a:avLst>
                    <a:gd name="adj" fmla="val 25000"/>
                  </a:avLst>
                </a:prstGeom>
                <a:solidFill>
                  <a:srgbClr val="92D050"/>
                </a:solidFill>
                <a:ln w="12700" algn="ctr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lIns="90000" tIns="46800" rIns="90000" bIns="46800" anchor="ctr"/>
                <a:lstStyle>
                  <a:lvl1pPr marL="266700" indent="-266700" eaLnBrk="0" hangingPunct="0">
                    <a:buChar char="&gt;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1pPr>
                  <a:lvl2pPr marL="742950" indent="-28575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2pPr>
                  <a:lvl3pPr marL="11430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3pPr>
                  <a:lvl4pPr marL="1600200" indent="-22860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4pPr>
                  <a:lvl5pPr marL="20574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9pPr>
                </a:lstStyle>
                <a:p>
                  <a:pPr algn="ctr" eaLnBrk="1" fontAlgn="auto" hangingPunct="1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altLang="de-DE" kern="0" dirty="0" smtClean="0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</p:grpSp>
          <p:grpSp>
            <p:nvGrpSpPr>
              <p:cNvPr id="39" name="Gruppieren 146"/>
              <p:cNvGrpSpPr>
                <a:grpSpLocks/>
              </p:cNvGrpSpPr>
              <p:nvPr>
                <p:custDataLst>
                  <p:tags r:id="rId28"/>
                </p:custDataLst>
              </p:nvPr>
            </p:nvGrpSpPr>
            <p:grpSpPr bwMode="auto">
              <a:xfrm>
                <a:off x="7645250" y="4542149"/>
                <a:ext cx="447669" cy="479957"/>
                <a:chOff x="5270379" y="2372409"/>
                <a:chExt cx="1076319" cy="1153948"/>
              </a:xfrm>
            </p:grpSpPr>
            <p:sp>
              <p:nvSpPr>
                <p:cNvPr id="111" name="Flussdiagramm: Daten 218"/>
                <p:cNvSpPr>
                  <a:spLocks noChangeArrowheads="1"/>
                </p:cNvSpPr>
                <p:nvPr/>
              </p:nvSpPr>
              <p:spPr bwMode="auto">
                <a:xfrm flipH="1">
                  <a:off x="5273888" y="2749422"/>
                  <a:ext cx="939021" cy="504561"/>
                </a:xfrm>
                <a:prstGeom prst="flowChartInputOutput">
                  <a:avLst/>
                </a:prstGeom>
                <a:solidFill>
                  <a:srgbClr val="92D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6350" algn="ctr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lIns="90000" tIns="46800" rIns="90000" bIns="46800" anchor="ctr"/>
                <a:lstStyle>
                  <a:lvl1pPr marL="266700" indent="-266700" eaLnBrk="0" hangingPunct="0">
                    <a:buChar char="&gt;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1pPr>
                  <a:lvl2pPr marL="742950" indent="-28575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2pPr>
                  <a:lvl3pPr marL="11430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3pPr>
                  <a:lvl4pPr marL="1600200" indent="-22860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4pPr>
                  <a:lvl5pPr marL="20574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9pPr>
                </a:lstStyle>
                <a:p>
                  <a:pPr algn="ctr" eaLnBrk="1" fontAlgn="auto" hangingPunct="1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altLang="de-DE" kern="0" dirty="0" smtClean="0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12" name="Freihandform 219"/>
                <p:cNvSpPr>
                  <a:spLocks/>
                </p:cNvSpPr>
                <p:nvPr/>
              </p:nvSpPr>
              <p:spPr bwMode="auto">
                <a:xfrm>
                  <a:off x="5516819" y="2655654"/>
                  <a:ext cx="254609" cy="692097"/>
                </a:xfrm>
                <a:custGeom>
                  <a:avLst/>
                  <a:gdLst>
                    <a:gd name="T0" fmla="*/ 0 w 161925"/>
                    <a:gd name="T1" fmla="*/ 0 h 352425"/>
                    <a:gd name="T2" fmla="*/ 403069 w 161925"/>
                    <a:gd name="T3" fmla="*/ 1361448 h 352425"/>
                    <a:gd name="T4" fmla="*/ 0 60000 65536"/>
                    <a:gd name="T5" fmla="*/ 0 60000 655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0" t="0" r="r" b="b"/>
                  <a:pathLst>
                    <a:path w="161925" h="352425">
                      <a:moveTo>
                        <a:pt x="0" y="0"/>
                      </a:moveTo>
                      <a:lnTo>
                        <a:pt x="161925" y="352425"/>
                      </a:lnTo>
                    </a:path>
                  </a:pathLst>
                </a:custGeom>
                <a:noFill/>
                <a:ln w="6350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113" name="Freihandform 220"/>
                <p:cNvSpPr>
                  <a:spLocks/>
                </p:cNvSpPr>
                <p:nvPr/>
              </p:nvSpPr>
              <p:spPr bwMode="auto">
                <a:xfrm>
                  <a:off x="5771429" y="2720399"/>
                  <a:ext cx="296657" cy="805958"/>
                </a:xfrm>
                <a:custGeom>
                  <a:avLst/>
                  <a:gdLst>
                    <a:gd name="T0" fmla="*/ 0 w 161925"/>
                    <a:gd name="T1" fmla="*/ 0 h 352425"/>
                    <a:gd name="T2" fmla="*/ 544642 w 161925"/>
                    <a:gd name="T3" fmla="*/ 1839660 h 352425"/>
                    <a:gd name="T4" fmla="*/ 0 60000 65536"/>
                    <a:gd name="T5" fmla="*/ 0 60000 655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0" t="0" r="r" b="b"/>
                  <a:pathLst>
                    <a:path w="161925" h="352425">
                      <a:moveTo>
                        <a:pt x="0" y="0"/>
                      </a:moveTo>
                      <a:lnTo>
                        <a:pt x="161925" y="352425"/>
                      </a:lnTo>
                    </a:path>
                  </a:pathLst>
                </a:custGeom>
                <a:noFill/>
                <a:ln w="6350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114" name="Freihandform 221"/>
                <p:cNvSpPr>
                  <a:spLocks/>
                </p:cNvSpPr>
                <p:nvPr/>
              </p:nvSpPr>
              <p:spPr bwMode="auto">
                <a:xfrm>
                  <a:off x="5341628" y="2990540"/>
                  <a:ext cx="810549" cy="46885"/>
                </a:xfrm>
                <a:custGeom>
                  <a:avLst/>
                  <a:gdLst>
                    <a:gd name="T0" fmla="*/ 0 w 640557"/>
                    <a:gd name="T1" fmla="*/ 0 h 45719"/>
                    <a:gd name="T2" fmla="*/ 1033651 w 640557"/>
                    <a:gd name="T3" fmla="*/ 0 h 45719"/>
                    <a:gd name="T4" fmla="*/ 0 60000 65536"/>
                    <a:gd name="T5" fmla="*/ 0 60000 655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0" t="0" r="r" b="b"/>
                  <a:pathLst>
                    <a:path w="640557" h="45719">
                      <a:moveTo>
                        <a:pt x="0" y="0"/>
                      </a:moveTo>
                      <a:lnTo>
                        <a:pt x="640557" y="0"/>
                      </a:lnTo>
                    </a:path>
                  </a:pathLst>
                </a:custGeom>
                <a:noFill/>
                <a:ln w="6350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115" name="Sonne 222"/>
                <p:cNvSpPr>
                  <a:spLocks noChangeArrowheads="1"/>
                </p:cNvSpPr>
                <p:nvPr/>
              </p:nvSpPr>
              <p:spPr bwMode="auto">
                <a:xfrm>
                  <a:off x="5717704" y="2372118"/>
                  <a:ext cx="628349" cy="629585"/>
                </a:xfrm>
                <a:prstGeom prst="sun">
                  <a:avLst>
                    <a:gd name="adj" fmla="val 25000"/>
                  </a:avLst>
                </a:prstGeom>
                <a:solidFill>
                  <a:srgbClr val="92D050"/>
                </a:solidFill>
                <a:ln w="12700" algn="ctr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lIns="90000" tIns="46800" rIns="90000" bIns="46800" anchor="ctr"/>
                <a:lstStyle>
                  <a:lvl1pPr marL="266700" indent="-266700" eaLnBrk="0" hangingPunct="0">
                    <a:buChar char="&gt;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1pPr>
                  <a:lvl2pPr marL="742950" indent="-28575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2pPr>
                  <a:lvl3pPr marL="11430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3pPr>
                  <a:lvl4pPr marL="1600200" indent="-22860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4pPr>
                  <a:lvl5pPr marL="20574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9pPr>
                </a:lstStyle>
                <a:p>
                  <a:pPr algn="ctr" eaLnBrk="1" fontAlgn="auto" hangingPunct="1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altLang="de-DE" kern="0" dirty="0" smtClean="0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</p:grpSp>
          <p:grpSp>
            <p:nvGrpSpPr>
              <p:cNvPr id="40" name="Gruppieren 294"/>
              <p:cNvGrpSpPr>
                <a:grpSpLocks/>
              </p:cNvGrpSpPr>
              <p:nvPr>
                <p:custDataLst>
                  <p:tags r:id="rId29"/>
                </p:custDataLst>
              </p:nvPr>
            </p:nvGrpSpPr>
            <p:grpSpPr bwMode="auto">
              <a:xfrm>
                <a:off x="5619015" y="3336413"/>
                <a:ext cx="311150" cy="400050"/>
                <a:chOff x="7350712" y="332913"/>
                <a:chExt cx="1455936" cy="1868749"/>
              </a:xfrm>
              <a:solidFill>
                <a:srgbClr val="92D050"/>
              </a:solidFill>
            </p:grpSpPr>
            <p:sp>
              <p:nvSpPr>
                <p:cNvPr id="106" name="Trapezoid 105"/>
                <p:cNvSpPr/>
                <p:nvPr/>
              </p:nvSpPr>
              <p:spPr>
                <a:xfrm>
                  <a:off x="7982115" y="1118974"/>
                  <a:ext cx="103995" cy="1082688"/>
                </a:xfrm>
                <a:prstGeom prst="trapezoid">
                  <a:avLst/>
                </a:prstGeom>
                <a:grpFill/>
                <a:ln w="9525" cap="flat" cmpd="sng" algn="ctr">
                  <a:noFill/>
                  <a:prstDash val="solid"/>
                  <a:tailEnd type="none"/>
                </a:ln>
                <a:effectLst/>
              </p:spPr>
              <p:txBody>
                <a:bodyPr anchor="ctr"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107" name="Ellipse 106"/>
                <p:cNvSpPr/>
                <p:nvPr/>
              </p:nvSpPr>
              <p:spPr>
                <a:xfrm>
                  <a:off x="7952402" y="1029986"/>
                  <a:ext cx="163421" cy="163145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tailEnd type="none"/>
                </a:ln>
                <a:effectLst/>
              </p:spPr>
              <p:txBody>
                <a:bodyPr anchor="ctr"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108" name="Freihandform 107"/>
                <p:cNvSpPr/>
                <p:nvPr/>
              </p:nvSpPr>
              <p:spPr>
                <a:xfrm rot="1800000">
                  <a:off x="8026685" y="1163468"/>
                  <a:ext cx="779963" cy="170563"/>
                </a:xfrm>
                <a:custGeom>
                  <a:avLst/>
                  <a:gdLst>
                    <a:gd name="connsiteX0" fmla="*/ 115410 w 781235"/>
                    <a:gd name="connsiteY0" fmla="*/ 0 h 168675"/>
                    <a:gd name="connsiteX1" fmla="*/ 781235 w 781235"/>
                    <a:gd name="connsiteY1" fmla="*/ 168675 h 168675"/>
                    <a:gd name="connsiteX2" fmla="*/ 0 w 781235"/>
                    <a:gd name="connsiteY2" fmla="*/ 150920 h 168675"/>
                    <a:gd name="connsiteX3" fmla="*/ 115410 w 781235"/>
                    <a:gd name="connsiteY3" fmla="*/ 0 h 168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1235" h="168675">
                      <a:moveTo>
                        <a:pt x="115410" y="0"/>
                      </a:moveTo>
                      <a:lnTo>
                        <a:pt x="781235" y="168675"/>
                      </a:lnTo>
                      <a:lnTo>
                        <a:pt x="0" y="150920"/>
                      </a:lnTo>
                      <a:lnTo>
                        <a:pt x="115410" y="0"/>
                      </a:lnTo>
                      <a:close/>
                    </a:path>
                  </a:pathLst>
                </a:custGeom>
                <a:grpFill/>
                <a:ln w="9525" cap="flat" cmpd="sng" algn="ctr">
                  <a:noFill/>
                  <a:prstDash val="solid"/>
                  <a:tailEnd type="none"/>
                </a:ln>
                <a:effectLst/>
              </p:spPr>
              <p:txBody>
                <a:bodyPr anchor="ctr"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109" name="Freihandform 108"/>
                <p:cNvSpPr/>
                <p:nvPr/>
              </p:nvSpPr>
              <p:spPr>
                <a:xfrm rot="-5400000">
                  <a:off x="7581650" y="636809"/>
                  <a:ext cx="778648" cy="170852"/>
                </a:xfrm>
                <a:custGeom>
                  <a:avLst/>
                  <a:gdLst>
                    <a:gd name="connsiteX0" fmla="*/ 115410 w 781235"/>
                    <a:gd name="connsiteY0" fmla="*/ 0 h 168675"/>
                    <a:gd name="connsiteX1" fmla="*/ 781235 w 781235"/>
                    <a:gd name="connsiteY1" fmla="*/ 168675 h 168675"/>
                    <a:gd name="connsiteX2" fmla="*/ 0 w 781235"/>
                    <a:gd name="connsiteY2" fmla="*/ 150920 h 168675"/>
                    <a:gd name="connsiteX3" fmla="*/ 115410 w 781235"/>
                    <a:gd name="connsiteY3" fmla="*/ 0 h 168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1235" h="168675">
                      <a:moveTo>
                        <a:pt x="115410" y="0"/>
                      </a:moveTo>
                      <a:lnTo>
                        <a:pt x="781235" y="168675"/>
                      </a:lnTo>
                      <a:lnTo>
                        <a:pt x="0" y="150920"/>
                      </a:lnTo>
                      <a:lnTo>
                        <a:pt x="115410" y="0"/>
                      </a:lnTo>
                      <a:close/>
                    </a:path>
                  </a:pathLst>
                </a:custGeom>
                <a:grpFill/>
                <a:ln w="9525" cap="flat" cmpd="sng" algn="ctr">
                  <a:noFill/>
                  <a:prstDash val="solid"/>
                  <a:tailEnd type="none"/>
                </a:ln>
                <a:effectLst/>
              </p:spPr>
              <p:txBody>
                <a:bodyPr anchor="ctr"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110" name="Freihandform 109"/>
                <p:cNvSpPr/>
                <p:nvPr/>
              </p:nvSpPr>
              <p:spPr>
                <a:xfrm rot="9000000">
                  <a:off x="7350712" y="1274706"/>
                  <a:ext cx="779968" cy="170558"/>
                </a:xfrm>
                <a:custGeom>
                  <a:avLst/>
                  <a:gdLst>
                    <a:gd name="connsiteX0" fmla="*/ 115410 w 781235"/>
                    <a:gd name="connsiteY0" fmla="*/ 0 h 168675"/>
                    <a:gd name="connsiteX1" fmla="*/ 781235 w 781235"/>
                    <a:gd name="connsiteY1" fmla="*/ 168675 h 168675"/>
                    <a:gd name="connsiteX2" fmla="*/ 0 w 781235"/>
                    <a:gd name="connsiteY2" fmla="*/ 150920 h 168675"/>
                    <a:gd name="connsiteX3" fmla="*/ 115410 w 781235"/>
                    <a:gd name="connsiteY3" fmla="*/ 0 h 168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1235" h="168675">
                      <a:moveTo>
                        <a:pt x="115410" y="0"/>
                      </a:moveTo>
                      <a:lnTo>
                        <a:pt x="781235" y="168675"/>
                      </a:lnTo>
                      <a:lnTo>
                        <a:pt x="0" y="150920"/>
                      </a:lnTo>
                      <a:lnTo>
                        <a:pt x="115410" y="0"/>
                      </a:lnTo>
                      <a:close/>
                    </a:path>
                  </a:pathLst>
                </a:custGeom>
                <a:grpFill/>
                <a:ln w="9525" cap="flat" cmpd="sng" algn="ctr">
                  <a:noFill/>
                  <a:prstDash val="solid"/>
                  <a:tailEnd type="none"/>
                </a:ln>
                <a:effectLst/>
              </p:spPr>
              <p:txBody>
                <a:bodyPr anchor="ctr"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</p:grpSp>
          <p:grpSp>
            <p:nvGrpSpPr>
              <p:cNvPr id="41" name="Gruppieren 294"/>
              <p:cNvGrpSpPr>
                <a:grpSpLocks/>
              </p:cNvGrpSpPr>
              <p:nvPr>
                <p:custDataLst>
                  <p:tags r:id="rId30"/>
                </p:custDataLst>
              </p:nvPr>
            </p:nvGrpSpPr>
            <p:grpSpPr bwMode="auto">
              <a:xfrm>
                <a:off x="5932855" y="2795865"/>
                <a:ext cx="311150" cy="400050"/>
                <a:chOff x="7350712" y="332913"/>
                <a:chExt cx="1455936" cy="1868749"/>
              </a:xfrm>
              <a:solidFill>
                <a:srgbClr val="92D050"/>
              </a:solidFill>
            </p:grpSpPr>
            <p:sp>
              <p:nvSpPr>
                <p:cNvPr id="101" name="Trapezoid 100"/>
                <p:cNvSpPr/>
                <p:nvPr/>
              </p:nvSpPr>
              <p:spPr>
                <a:xfrm>
                  <a:off x="7982115" y="1118974"/>
                  <a:ext cx="103995" cy="1082688"/>
                </a:xfrm>
                <a:prstGeom prst="trapezoid">
                  <a:avLst/>
                </a:prstGeom>
                <a:grpFill/>
                <a:ln w="9525" cap="flat" cmpd="sng" algn="ctr">
                  <a:noFill/>
                  <a:prstDash val="solid"/>
                  <a:tailEnd type="none"/>
                </a:ln>
                <a:effectLst/>
              </p:spPr>
              <p:txBody>
                <a:bodyPr anchor="ctr"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102" name="Ellipse 101"/>
                <p:cNvSpPr/>
                <p:nvPr/>
              </p:nvSpPr>
              <p:spPr>
                <a:xfrm>
                  <a:off x="7952402" y="1029986"/>
                  <a:ext cx="163421" cy="163145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tailEnd type="none"/>
                </a:ln>
                <a:effectLst/>
              </p:spPr>
              <p:txBody>
                <a:bodyPr anchor="ctr"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103" name="Freihandform 102"/>
                <p:cNvSpPr/>
                <p:nvPr/>
              </p:nvSpPr>
              <p:spPr>
                <a:xfrm rot="1800000">
                  <a:off x="8026685" y="1163468"/>
                  <a:ext cx="779963" cy="170563"/>
                </a:xfrm>
                <a:custGeom>
                  <a:avLst/>
                  <a:gdLst>
                    <a:gd name="connsiteX0" fmla="*/ 115410 w 781235"/>
                    <a:gd name="connsiteY0" fmla="*/ 0 h 168675"/>
                    <a:gd name="connsiteX1" fmla="*/ 781235 w 781235"/>
                    <a:gd name="connsiteY1" fmla="*/ 168675 h 168675"/>
                    <a:gd name="connsiteX2" fmla="*/ 0 w 781235"/>
                    <a:gd name="connsiteY2" fmla="*/ 150920 h 168675"/>
                    <a:gd name="connsiteX3" fmla="*/ 115410 w 781235"/>
                    <a:gd name="connsiteY3" fmla="*/ 0 h 168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1235" h="168675">
                      <a:moveTo>
                        <a:pt x="115410" y="0"/>
                      </a:moveTo>
                      <a:lnTo>
                        <a:pt x="781235" y="168675"/>
                      </a:lnTo>
                      <a:lnTo>
                        <a:pt x="0" y="150920"/>
                      </a:lnTo>
                      <a:lnTo>
                        <a:pt x="115410" y="0"/>
                      </a:lnTo>
                      <a:close/>
                    </a:path>
                  </a:pathLst>
                </a:custGeom>
                <a:grpFill/>
                <a:ln w="9525" cap="flat" cmpd="sng" algn="ctr">
                  <a:noFill/>
                  <a:prstDash val="solid"/>
                  <a:tailEnd type="none"/>
                </a:ln>
                <a:effectLst/>
              </p:spPr>
              <p:txBody>
                <a:bodyPr anchor="ctr"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104" name="Freihandform 103"/>
                <p:cNvSpPr/>
                <p:nvPr/>
              </p:nvSpPr>
              <p:spPr>
                <a:xfrm rot="-5400000">
                  <a:off x="7581650" y="636809"/>
                  <a:ext cx="778648" cy="170852"/>
                </a:xfrm>
                <a:custGeom>
                  <a:avLst/>
                  <a:gdLst>
                    <a:gd name="connsiteX0" fmla="*/ 115410 w 781235"/>
                    <a:gd name="connsiteY0" fmla="*/ 0 h 168675"/>
                    <a:gd name="connsiteX1" fmla="*/ 781235 w 781235"/>
                    <a:gd name="connsiteY1" fmla="*/ 168675 h 168675"/>
                    <a:gd name="connsiteX2" fmla="*/ 0 w 781235"/>
                    <a:gd name="connsiteY2" fmla="*/ 150920 h 168675"/>
                    <a:gd name="connsiteX3" fmla="*/ 115410 w 781235"/>
                    <a:gd name="connsiteY3" fmla="*/ 0 h 168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1235" h="168675">
                      <a:moveTo>
                        <a:pt x="115410" y="0"/>
                      </a:moveTo>
                      <a:lnTo>
                        <a:pt x="781235" y="168675"/>
                      </a:lnTo>
                      <a:lnTo>
                        <a:pt x="0" y="150920"/>
                      </a:lnTo>
                      <a:lnTo>
                        <a:pt x="115410" y="0"/>
                      </a:lnTo>
                      <a:close/>
                    </a:path>
                  </a:pathLst>
                </a:custGeom>
                <a:grpFill/>
                <a:ln w="9525" cap="flat" cmpd="sng" algn="ctr">
                  <a:noFill/>
                  <a:prstDash val="solid"/>
                  <a:tailEnd type="none"/>
                </a:ln>
                <a:effectLst/>
              </p:spPr>
              <p:txBody>
                <a:bodyPr anchor="ctr"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105" name="Freihandform 104"/>
                <p:cNvSpPr/>
                <p:nvPr/>
              </p:nvSpPr>
              <p:spPr>
                <a:xfrm rot="9000000">
                  <a:off x="7350712" y="1274706"/>
                  <a:ext cx="779968" cy="170558"/>
                </a:xfrm>
                <a:custGeom>
                  <a:avLst/>
                  <a:gdLst>
                    <a:gd name="connsiteX0" fmla="*/ 115410 w 781235"/>
                    <a:gd name="connsiteY0" fmla="*/ 0 h 168675"/>
                    <a:gd name="connsiteX1" fmla="*/ 781235 w 781235"/>
                    <a:gd name="connsiteY1" fmla="*/ 168675 h 168675"/>
                    <a:gd name="connsiteX2" fmla="*/ 0 w 781235"/>
                    <a:gd name="connsiteY2" fmla="*/ 150920 h 168675"/>
                    <a:gd name="connsiteX3" fmla="*/ 115410 w 781235"/>
                    <a:gd name="connsiteY3" fmla="*/ 0 h 168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1235" h="168675">
                      <a:moveTo>
                        <a:pt x="115410" y="0"/>
                      </a:moveTo>
                      <a:lnTo>
                        <a:pt x="781235" y="168675"/>
                      </a:lnTo>
                      <a:lnTo>
                        <a:pt x="0" y="150920"/>
                      </a:lnTo>
                      <a:lnTo>
                        <a:pt x="115410" y="0"/>
                      </a:lnTo>
                      <a:close/>
                    </a:path>
                  </a:pathLst>
                </a:custGeom>
                <a:grpFill/>
                <a:ln w="9525" cap="flat" cmpd="sng" algn="ctr">
                  <a:noFill/>
                  <a:prstDash val="solid"/>
                  <a:tailEnd type="none"/>
                </a:ln>
                <a:effectLst/>
              </p:spPr>
              <p:txBody>
                <a:bodyPr anchor="ctr"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</p:grpSp>
          <p:grpSp>
            <p:nvGrpSpPr>
              <p:cNvPr id="42" name="Gruppieren 294"/>
              <p:cNvGrpSpPr>
                <a:grpSpLocks/>
              </p:cNvGrpSpPr>
              <p:nvPr>
                <p:custDataLst>
                  <p:tags r:id="rId31"/>
                </p:custDataLst>
              </p:nvPr>
            </p:nvGrpSpPr>
            <p:grpSpPr bwMode="auto">
              <a:xfrm>
                <a:off x="6037959" y="2795865"/>
                <a:ext cx="311150" cy="400050"/>
                <a:chOff x="7350712" y="332913"/>
                <a:chExt cx="1455936" cy="1868749"/>
              </a:xfrm>
              <a:solidFill>
                <a:srgbClr val="92D050"/>
              </a:solidFill>
            </p:grpSpPr>
            <p:sp>
              <p:nvSpPr>
                <p:cNvPr id="96" name="Trapezoid 95"/>
                <p:cNvSpPr/>
                <p:nvPr/>
              </p:nvSpPr>
              <p:spPr>
                <a:xfrm>
                  <a:off x="7982115" y="1118974"/>
                  <a:ext cx="103995" cy="1082688"/>
                </a:xfrm>
                <a:prstGeom prst="trapezoid">
                  <a:avLst/>
                </a:prstGeom>
                <a:grpFill/>
                <a:ln w="9525" cap="flat" cmpd="sng" algn="ctr">
                  <a:noFill/>
                  <a:prstDash val="solid"/>
                  <a:tailEnd type="none"/>
                </a:ln>
                <a:effectLst/>
              </p:spPr>
              <p:txBody>
                <a:bodyPr anchor="ctr"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97" name="Ellipse 96"/>
                <p:cNvSpPr/>
                <p:nvPr/>
              </p:nvSpPr>
              <p:spPr>
                <a:xfrm>
                  <a:off x="7952402" y="1029986"/>
                  <a:ext cx="163421" cy="163145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tailEnd type="none"/>
                </a:ln>
                <a:effectLst/>
              </p:spPr>
              <p:txBody>
                <a:bodyPr anchor="ctr"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98" name="Freihandform 97"/>
                <p:cNvSpPr/>
                <p:nvPr/>
              </p:nvSpPr>
              <p:spPr>
                <a:xfrm rot="1800000">
                  <a:off x="8026685" y="1163468"/>
                  <a:ext cx="779963" cy="170563"/>
                </a:xfrm>
                <a:custGeom>
                  <a:avLst/>
                  <a:gdLst>
                    <a:gd name="connsiteX0" fmla="*/ 115410 w 781235"/>
                    <a:gd name="connsiteY0" fmla="*/ 0 h 168675"/>
                    <a:gd name="connsiteX1" fmla="*/ 781235 w 781235"/>
                    <a:gd name="connsiteY1" fmla="*/ 168675 h 168675"/>
                    <a:gd name="connsiteX2" fmla="*/ 0 w 781235"/>
                    <a:gd name="connsiteY2" fmla="*/ 150920 h 168675"/>
                    <a:gd name="connsiteX3" fmla="*/ 115410 w 781235"/>
                    <a:gd name="connsiteY3" fmla="*/ 0 h 168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1235" h="168675">
                      <a:moveTo>
                        <a:pt x="115410" y="0"/>
                      </a:moveTo>
                      <a:lnTo>
                        <a:pt x="781235" y="168675"/>
                      </a:lnTo>
                      <a:lnTo>
                        <a:pt x="0" y="150920"/>
                      </a:lnTo>
                      <a:lnTo>
                        <a:pt x="115410" y="0"/>
                      </a:lnTo>
                      <a:close/>
                    </a:path>
                  </a:pathLst>
                </a:custGeom>
                <a:grpFill/>
                <a:ln w="9525" cap="flat" cmpd="sng" algn="ctr">
                  <a:noFill/>
                  <a:prstDash val="solid"/>
                  <a:tailEnd type="none"/>
                </a:ln>
                <a:effectLst/>
              </p:spPr>
              <p:txBody>
                <a:bodyPr anchor="ctr"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99" name="Freihandform 98"/>
                <p:cNvSpPr/>
                <p:nvPr/>
              </p:nvSpPr>
              <p:spPr>
                <a:xfrm rot="-5400000">
                  <a:off x="7581650" y="636809"/>
                  <a:ext cx="778648" cy="170852"/>
                </a:xfrm>
                <a:custGeom>
                  <a:avLst/>
                  <a:gdLst>
                    <a:gd name="connsiteX0" fmla="*/ 115410 w 781235"/>
                    <a:gd name="connsiteY0" fmla="*/ 0 h 168675"/>
                    <a:gd name="connsiteX1" fmla="*/ 781235 w 781235"/>
                    <a:gd name="connsiteY1" fmla="*/ 168675 h 168675"/>
                    <a:gd name="connsiteX2" fmla="*/ 0 w 781235"/>
                    <a:gd name="connsiteY2" fmla="*/ 150920 h 168675"/>
                    <a:gd name="connsiteX3" fmla="*/ 115410 w 781235"/>
                    <a:gd name="connsiteY3" fmla="*/ 0 h 168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1235" h="168675">
                      <a:moveTo>
                        <a:pt x="115410" y="0"/>
                      </a:moveTo>
                      <a:lnTo>
                        <a:pt x="781235" y="168675"/>
                      </a:lnTo>
                      <a:lnTo>
                        <a:pt x="0" y="150920"/>
                      </a:lnTo>
                      <a:lnTo>
                        <a:pt x="115410" y="0"/>
                      </a:lnTo>
                      <a:close/>
                    </a:path>
                  </a:pathLst>
                </a:custGeom>
                <a:grpFill/>
                <a:ln w="9525" cap="flat" cmpd="sng" algn="ctr">
                  <a:noFill/>
                  <a:prstDash val="solid"/>
                  <a:tailEnd type="none"/>
                </a:ln>
                <a:effectLst/>
              </p:spPr>
              <p:txBody>
                <a:bodyPr anchor="ctr"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100" name="Freihandform 99"/>
                <p:cNvSpPr/>
                <p:nvPr/>
              </p:nvSpPr>
              <p:spPr>
                <a:xfrm rot="9000000">
                  <a:off x="7350712" y="1274706"/>
                  <a:ext cx="779968" cy="170558"/>
                </a:xfrm>
                <a:custGeom>
                  <a:avLst/>
                  <a:gdLst>
                    <a:gd name="connsiteX0" fmla="*/ 115410 w 781235"/>
                    <a:gd name="connsiteY0" fmla="*/ 0 h 168675"/>
                    <a:gd name="connsiteX1" fmla="*/ 781235 w 781235"/>
                    <a:gd name="connsiteY1" fmla="*/ 168675 h 168675"/>
                    <a:gd name="connsiteX2" fmla="*/ 0 w 781235"/>
                    <a:gd name="connsiteY2" fmla="*/ 150920 h 168675"/>
                    <a:gd name="connsiteX3" fmla="*/ 115410 w 781235"/>
                    <a:gd name="connsiteY3" fmla="*/ 0 h 168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1235" h="168675">
                      <a:moveTo>
                        <a:pt x="115410" y="0"/>
                      </a:moveTo>
                      <a:lnTo>
                        <a:pt x="781235" y="168675"/>
                      </a:lnTo>
                      <a:lnTo>
                        <a:pt x="0" y="150920"/>
                      </a:lnTo>
                      <a:lnTo>
                        <a:pt x="115410" y="0"/>
                      </a:lnTo>
                      <a:close/>
                    </a:path>
                  </a:pathLst>
                </a:custGeom>
                <a:grpFill/>
                <a:ln w="9525" cap="flat" cmpd="sng" algn="ctr">
                  <a:noFill/>
                  <a:prstDash val="solid"/>
                  <a:tailEnd type="none"/>
                </a:ln>
                <a:effectLst/>
              </p:spPr>
              <p:txBody>
                <a:bodyPr anchor="ctr"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</p:grpSp>
          <p:grpSp>
            <p:nvGrpSpPr>
              <p:cNvPr id="43" name="Gruppieren 294"/>
              <p:cNvGrpSpPr>
                <a:grpSpLocks/>
              </p:cNvGrpSpPr>
              <p:nvPr>
                <p:custDataLst>
                  <p:tags r:id="rId32"/>
                </p:custDataLst>
              </p:nvPr>
            </p:nvGrpSpPr>
            <p:grpSpPr bwMode="auto">
              <a:xfrm>
                <a:off x="5832244" y="2795865"/>
                <a:ext cx="311150" cy="400050"/>
                <a:chOff x="7350712" y="332913"/>
                <a:chExt cx="1455936" cy="1868749"/>
              </a:xfrm>
              <a:solidFill>
                <a:srgbClr val="92D050"/>
              </a:solidFill>
            </p:grpSpPr>
            <p:sp>
              <p:nvSpPr>
                <p:cNvPr id="91" name="Trapezoid 90"/>
                <p:cNvSpPr/>
                <p:nvPr/>
              </p:nvSpPr>
              <p:spPr>
                <a:xfrm>
                  <a:off x="7982115" y="1118974"/>
                  <a:ext cx="103995" cy="1082688"/>
                </a:xfrm>
                <a:prstGeom prst="trapezoid">
                  <a:avLst/>
                </a:prstGeom>
                <a:grpFill/>
                <a:ln w="9525" cap="flat" cmpd="sng" algn="ctr">
                  <a:noFill/>
                  <a:prstDash val="solid"/>
                  <a:tailEnd type="none"/>
                </a:ln>
                <a:effectLst/>
              </p:spPr>
              <p:txBody>
                <a:bodyPr anchor="ctr"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92" name="Ellipse 91"/>
                <p:cNvSpPr/>
                <p:nvPr/>
              </p:nvSpPr>
              <p:spPr>
                <a:xfrm>
                  <a:off x="7952402" y="1029986"/>
                  <a:ext cx="163421" cy="163145"/>
                </a:xfrm>
                <a:prstGeom prst="ellipse">
                  <a:avLst/>
                </a:prstGeom>
                <a:grpFill/>
                <a:ln w="9525" cap="flat" cmpd="sng" algn="ctr">
                  <a:noFill/>
                  <a:prstDash val="solid"/>
                  <a:tailEnd type="none"/>
                </a:ln>
                <a:effectLst/>
              </p:spPr>
              <p:txBody>
                <a:bodyPr anchor="ctr"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93" name="Freihandform 92"/>
                <p:cNvSpPr/>
                <p:nvPr/>
              </p:nvSpPr>
              <p:spPr>
                <a:xfrm rot="1800000">
                  <a:off x="8026685" y="1163468"/>
                  <a:ext cx="779963" cy="170563"/>
                </a:xfrm>
                <a:custGeom>
                  <a:avLst/>
                  <a:gdLst>
                    <a:gd name="connsiteX0" fmla="*/ 115410 w 781235"/>
                    <a:gd name="connsiteY0" fmla="*/ 0 h 168675"/>
                    <a:gd name="connsiteX1" fmla="*/ 781235 w 781235"/>
                    <a:gd name="connsiteY1" fmla="*/ 168675 h 168675"/>
                    <a:gd name="connsiteX2" fmla="*/ 0 w 781235"/>
                    <a:gd name="connsiteY2" fmla="*/ 150920 h 168675"/>
                    <a:gd name="connsiteX3" fmla="*/ 115410 w 781235"/>
                    <a:gd name="connsiteY3" fmla="*/ 0 h 168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1235" h="168675">
                      <a:moveTo>
                        <a:pt x="115410" y="0"/>
                      </a:moveTo>
                      <a:lnTo>
                        <a:pt x="781235" y="168675"/>
                      </a:lnTo>
                      <a:lnTo>
                        <a:pt x="0" y="150920"/>
                      </a:lnTo>
                      <a:lnTo>
                        <a:pt x="115410" y="0"/>
                      </a:lnTo>
                      <a:close/>
                    </a:path>
                  </a:pathLst>
                </a:custGeom>
                <a:grpFill/>
                <a:ln w="9525" cap="flat" cmpd="sng" algn="ctr">
                  <a:noFill/>
                  <a:prstDash val="solid"/>
                  <a:tailEnd type="none"/>
                </a:ln>
                <a:effectLst/>
              </p:spPr>
              <p:txBody>
                <a:bodyPr anchor="ctr"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94" name="Freihandform 93"/>
                <p:cNvSpPr/>
                <p:nvPr/>
              </p:nvSpPr>
              <p:spPr>
                <a:xfrm rot="-5400000">
                  <a:off x="7581650" y="636809"/>
                  <a:ext cx="778648" cy="170852"/>
                </a:xfrm>
                <a:custGeom>
                  <a:avLst/>
                  <a:gdLst>
                    <a:gd name="connsiteX0" fmla="*/ 115410 w 781235"/>
                    <a:gd name="connsiteY0" fmla="*/ 0 h 168675"/>
                    <a:gd name="connsiteX1" fmla="*/ 781235 w 781235"/>
                    <a:gd name="connsiteY1" fmla="*/ 168675 h 168675"/>
                    <a:gd name="connsiteX2" fmla="*/ 0 w 781235"/>
                    <a:gd name="connsiteY2" fmla="*/ 150920 h 168675"/>
                    <a:gd name="connsiteX3" fmla="*/ 115410 w 781235"/>
                    <a:gd name="connsiteY3" fmla="*/ 0 h 168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1235" h="168675">
                      <a:moveTo>
                        <a:pt x="115410" y="0"/>
                      </a:moveTo>
                      <a:lnTo>
                        <a:pt x="781235" y="168675"/>
                      </a:lnTo>
                      <a:lnTo>
                        <a:pt x="0" y="150920"/>
                      </a:lnTo>
                      <a:lnTo>
                        <a:pt x="115410" y="0"/>
                      </a:lnTo>
                      <a:close/>
                    </a:path>
                  </a:pathLst>
                </a:custGeom>
                <a:grpFill/>
                <a:ln w="9525" cap="flat" cmpd="sng" algn="ctr">
                  <a:noFill/>
                  <a:prstDash val="solid"/>
                  <a:tailEnd type="none"/>
                </a:ln>
                <a:effectLst/>
              </p:spPr>
              <p:txBody>
                <a:bodyPr anchor="ctr"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95" name="Freihandform 94"/>
                <p:cNvSpPr/>
                <p:nvPr/>
              </p:nvSpPr>
              <p:spPr>
                <a:xfrm rot="9000000">
                  <a:off x="7350712" y="1274706"/>
                  <a:ext cx="779968" cy="170558"/>
                </a:xfrm>
                <a:custGeom>
                  <a:avLst/>
                  <a:gdLst>
                    <a:gd name="connsiteX0" fmla="*/ 115410 w 781235"/>
                    <a:gd name="connsiteY0" fmla="*/ 0 h 168675"/>
                    <a:gd name="connsiteX1" fmla="*/ 781235 w 781235"/>
                    <a:gd name="connsiteY1" fmla="*/ 168675 h 168675"/>
                    <a:gd name="connsiteX2" fmla="*/ 0 w 781235"/>
                    <a:gd name="connsiteY2" fmla="*/ 150920 h 168675"/>
                    <a:gd name="connsiteX3" fmla="*/ 115410 w 781235"/>
                    <a:gd name="connsiteY3" fmla="*/ 0 h 168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81235" h="168675">
                      <a:moveTo>
                        <a:pt x="115410" y="0"/>
                      </a:moveTo>
                      <a:lnTo>
                        <a:pt x="781235" y="168675"/>
                      </a:lnTo>
                      <a:lnTo>
                        <a:pt x="0" y="150920"/>
                      </a:lnTo>
                      <a:lnTo>
                        <a:pt x="115410" y="0"/>
                      </a:lnTo>
                      <a:close/>
                    </a:path>
                  </a:pathLst>
                </a:custGeom>
                <a:grpFill/>
                <a:ln w="9525" cap="flat" cmpd="sng" algn="ctr">
                  <a:noFill/>
                  <a:prstDash val="solid"/>
                  <a:tailEnd type="none"/>
                </a:ln>
                <a:effectLst/>
              </p:spPr>
              <p:txBody>
                <a:bodyPr anchor="ctr"/>
                <a:lstStyle/>
                <a:p>
                  <a:pPr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</p:grpSp>
          <p:grpSp>
            <p:nvGrpSpPr>
              <p:cNvPr id="44" name="Gruppieren 151"/>
              <p:cNvGrpSpPr>
                <a:grpSpLocks/>
              </p:cNvGrpSpPr>
              <p:nvPr>
                <p:custDataLst>
                  <p:tags r:id="rId33"/>
                </p:custDataLst>
              </p:nvPr>
            </p:nvGrpSpPr>
            <p:grpSpPr bwMode="auto">
              <a:xfrm>
                <a:off x="7059853" y="4331741"/>
                <a:ext cx="665202" cy="366503"/>
                <a:chOff x="1087727" y="4216327"/>
                <a:chExt cx="665202" cy="366503"/>
              </a:xfrm>
            </p:grpSpPr>
            <p:sp>
              <p:nvSpPr>
                <p:cNvPr id="88" name="Line 84"/>
                <p:cNvSpPr>
                  <a:spLocks noChangeShapeType="1"/>
                </p:cNvSpPr>
                <p:nvPr/>
              </p:nvSpPr>
              <p:spPr bwMode="gray">
                <a:xfrm>
                  <a:off x="1087768" y="4216753"/>
                  <a:ext cx="665511" cy="0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89" name="Line 72"/>
                <p:cNvSpPr>
                  <a:spLocks noChangeShapeType="1"/>
                </p:cNvSpPr>
                <p:nvPr/>
              </p:nvSpPr>
              <p:spPr bwMode="gray">
                <a:xfrm>
                  <a:off x="1243216" y="4223253"/>
                  <a:ext cx="0" cy="359363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90" name="Line 72"/>
                <p:cNvSpPr>
                  <a:spLocks noChangeShapeType="1"/>
                </p:cNvSpPr>
                <p:nvPr/>
              </p:nvSpPr>
              <p:spPr bwMode="gray">
                <a:xfrm>
                  <a:off x="1597831" y="4223253"/>
                  <a:ext cx="0" cy="359363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</p:grpSp>
          <p:grpSp>
            <p:nvGrpSpPr>
              <p:cNvPr id="45" name="Gruppieren 152"/>
              <p:cNvGrpSpPr>
                <a:grpSpLocks/>
              </p:cNvGrpSpPr>
              <p:nvPr>
                <p:custDataLst>
                  <p:tags r:id="rId34"/>
                </p:custDataLst>
              </p:nvPr>
            </p:nvGrpSpPr>
            <p:grpSpPr bwMode="auto">
              <a:xfrm>
                <a:off x="8017180" y="4331741"/>
                <a:ext cx="665202" cy="366503"/>
                <a:chOff x="1087727" y="4216327"/>
                <a:chExt cx="665202" cy="366503"/>
              </a:xfrm>
            </p:grpSpPr>
            <p:sp>
              <p:nvSpPr>
                <p:cNvPr id="85" name="Line 84"/>
                <p:cNvSpPr>
                  <a:spLocks noChangeShapeType="1"/>
                </p:cNvSpPr>
                <p:nvPr/>
              </p:nvSpPr>
              <p:spPr bwMode="gray">
                <a:xfrm>
                  <a:off x="1087417" y="4216753"/>
                  <a:ext cx="665512" cy="0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86" name="Line 72"/>
                <p:cNvSpPr>
                  <a:spLocks noChangeShapeType="1"/>
                </p:cNvSpPr>
                <p:nvPr/>
              </p:nvSpPr>
              <p:spPr bwMode="gray">
                <a:xfrm>
                  <a:off x="1242865" y="4223253"/>
                  <a:ext cx="0" cy="359363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87" name="Line 72"/>
                <p:cNvSpPr>
                  <a:spLocks noChangeShapeType="1"/>
                </p:cNvSpPr>
                <p:nvPr/>
              </p:nvSpPr>
              <p:spPr bwMode="gray">
                <a:xfrm>
                  <a:off x="1597481" y="4223253"/>
                  <a:ext cx="0" cy="359363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</p:grpSp>
          <p:grpSp>
            <p:nvGrpSpPr>
              <p:cNvPr id="46" name="Gruppieren 153"/>
              <p:cNvGrpSpPr>
                <a:grpSpLocks/>
              </p:cNvGrpSpPr>
              <p:nvPr>
                <p:custDataLst>
                  <p:tags r:id="rId35"/>
                </p:custDataLst>
              </p:nvPr>
            </p:nvGrpSpPr>
            <p:grpSpPr bwMode="auto">
              <a:xfrm>
                <a:off x="5147051" y="4331741"/>
                <a:ext cx="665202" cy="366503"/>
                <a:chOff x="1087727" y="4216327"/>
                <a:chExt cx="665202" cy="366503"/>
              </a:xfrm>
            </p:grpSpPr>
            <p:sp>
              <p:nvSpPr>
                <p:cNvPr id="82" name="Line 84"/>
                <p:cNvSpPr>
                  <a:spLocks noChangeShapeType="1"/>
                </p:cNvSpPr>
                <p:nvPr/>
              </p:nvSpPr>
              <p:spPr bwMode="gray">
                <a:xfrm>
                  <a:off x="1087588" y="4216753"/>
                  <a:ext cx="665512" cy="0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83" name="Line 72"/>
                <p:cNvSpPr>
                  <a:spLocks noChangeShapeType="1"/>
                </p:cNvSpPr>
                <p:nvPr/>
              </p:nvSpPr>
              <p:spPr bwMode="gray">
                <a:xfrm>
                  <a:off x="1243036" y="4223253"/>
                  <a:ext cx="0" cy="359363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84" name="Line 72"/>
                <p:cNvSpPr>
                  <a:spLocks noChangeShapeType="1"/>
                </p:cNvSpPr>
                <p:nvPr/>
              </p:nvSpPr>
              <p:spPr bwMode="gray">
                <a:xfrm>
                  <a:off x="1597652" y="4223253"/>
                  <a:ext cx="0" cy="359363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</p:grpSp>
          <p:sp>
            <p:nvSpPr>
              <p:cNvPr id="47" name="Line 84"/>
              <p:cNvSpPr>
                <a:spLocks noChangeShapeType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6029079" y="3263366"/>
                <a:ext cx="1775993" cy="0"/>
              </a:xfrm>
              <a:prstGeom prst="line">
                <a:avLst/>
              </a:prstGeom>
              <a:noFill/>
              <a:ln w="1905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fontAlgn="auto">
                  <a:spcBef>
                    <a:spcPts val="0"/>
                  </a:spcBef>
                  <a:spcAft>
                    <a:spcPct val="100000"/>
                  </a:spcAft>
                  <a:buClr>
                    <a:srgbClr val="0050A6"/>
                  </a:buClr>
                  <a:buFont typeface="Arial" pitchFamily="34" charset="0"/>
                  <a:buNone/>
                  <a:defRPr/>
                </a:pPr>
                <a:endParaRPr lang="de-DE" kern="0" dirty="0">
                  <a:solidFill>
                    <a:srgbClr val="000000"/>
                  </a:solidFill>
                  <a:latin typeface="Calibri" panose="020F0502020204030204" pitchFamily="34" charset="0"/>
                  <a:cs typeface="Arial"/>
                </a:endParaRPr>
              </a:p>
            </p:txBody>
          </p:sp>
          <p:grpSp>
            <p:nvGrpSpPr>
              <p:cNvPr id="48" name="Group 6"/>
              <p:cNvGrpSpPr>
                <a:grpSpLocks/>
              </p:cNvGrpSpPr>
              <p:nvPr>
                <p:custDataLst>
                  <p:tags r:id="rId37"/>
                </p:custDataLst>
              </p:nvPr>
            </p:nvGrpSpPr>
            <p:grpSpPr bwMode="auto">
              <a:xfrm>
                <a:off x="7501130" y="3263501"/>
                <a:ext cx="176253" cy="529795"/>
                <a:chOff x="782" y="1139"/>
                <a:chExt cx="170" cy="511"/>
              </a:xfrm>
            </p:grpSpPr>
            <p:sp>
              <p:nvSpPr>
                <p:cNvPr id="78" name="Oval 7"/>
                <p:cNvSpPr>
                  <a:spLocks noChangeArrowheads="1"/>
                </p:cNvSpPr>
                <p:nvPr/>
              </p:nvSpPr>
              <p:spPr bwMode="gray">
                <a:xfrm>
                  <a:off x="782" y="1253"/>
                  <a:ext cx="171" cy="170"/>
                </a:xfrm>
                <a:prstGeom prst="ellipse">
                  <a:avLst/>
                </a:prstGeom>
                <a:noFill/>
                <a:ln w="19050" algn="ctr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>
                  <a:lvl1pPr eaLnBrk="0" hangingPunct="0">
                    <a:buChar char="&gt;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1pPr>
                  <a:lvl2pPr marL="742950" indent="-28575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2pPr>
                  <a:lvl3pPr marL="11430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3pPr>
                  <a:lvl4pPr marL="1600200" indent="-22860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4pPr>
                  <a:lvl5pPr marL="20574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9pPr>
                </a:lstStyle>
                <a:p>
                  <a:pPr eaLnBrk="1" fontAlgn="auto" hangingPunct="1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altLang="de-DE" sz="1800" kern="0" dirty="0" smtClean="0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79" name="Oval 8"/>
                <p:cNvSpPr>
                  <a:spLocks noChangeArrowheads="1"/>
                </p:cNvSpPr>
                <p:nvPr/>
              </p:nvSpPr>
              <p:spPr bwMode="gray">
                <a:xfrm>
                  <a:off x="782" y="1366"/>
                  <a:ext cx="171" cy="170"/>
                </a:xfrm>
                <a:prstGeom prst="ellipse">
                  <a:avLst/>
                </a:prstGeom>
                <a:noFill/>
                <a:ln w="19050" algn="ctr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>
                  <a:lvl1pPr eaLnBrk="0" hangingPunct="0">
                    <a:buChar char="&gt;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1pPr>
                  <a:lvl2pPr marL="742950" indent="-28575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2pPr>
                  <a:lvl3pPr marL="11430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3pPr>
                  <a:lvl4pPr marL="1600200" indent="-22860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4pPr>
                  <a:lvl5pPr marL="20574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9pPr>
                </a:lstStyle>
                <a:p>
                  <a:pPr eaLnBrk="1" fontAlgn="auto" hangingPunct="1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altLang="de-DE" sz="1800" kern="0" dirty="0" smtClean="0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80" name="Line 9"/>
                <p:cNvSpPr>
                  <a:spLocks noChangeShapeType="1"/>
                </p:cNvSpPr>
                <p:nvPr/>
              </p:nvSpPr>
              <p:spPr bwMode="gray">
                <a:xfrm>
                  <a:off x="867" y="1537"/>
                  <a:ext cx="0" cy="114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81" name="Line 10"/>
                <p:cNvSpPr>
                  <a:spLocks noChangeShapeType="1"/>
                </p:cNvSpPr>
                <p:nvPr/>
              </p:nvSpPr>
              <p:spPr bwMode="gray">
                <a:xfrm>
                  <a:off x="867" y="1139"/>
                  <a:ext cx="0" cy="114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</p:grpSp>
          <p:grpSp>
            <p:nvGrpSpPr>
              <p:cNvPr id="49" name="Group 6"/>
              <p:cNvGrpSpPr>
                <a:grpSpLocks/>
              </p:cNvGrpSpPr>
              <p:nvPr>
                <p:custDataLst>
                  <p:tags r:id="rId38"/>
                </p:custDataLst>
              </p:nvPr>
            </p:nvGrpSpPr>
            <p:grpSpPr bwMode="auto">
              <a:xfrm>
                <a:off x="6157136" y="3262989"/>
                <a:ext cx="176253" cy="529795"/>
                <a:chOff x="782" y="1139"/>
                <a:chExt cx="170" cy="511"/>
              </a:xfrm>
            </p:grpSpPr>
            <p:sp>
              <p:nvSpPr>
                <p:cNvPr id="74" name="Oval 7"/>
                <p:cNvSpPr>
                  <a:spLocks noChangeArrowheads="1"/>
                </p:cNvSpPr>
                <p:nvPr/>
              </p:nvSpPr>
              <p:spPr bwMode="gray">
                <a:xfrm>
                  <a:off x="782" y="1253"/>
                  <a:ext cx="170" cy="170"/>
                </a:xfrm>
                <a:prstGeom prst="ellipse">
                  <a:avLst/>
                </a:prstGeom>
                <a:noFill/>
                <a:ln w="19050" algn="ctr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>
                  <a:lvl1pPr eaLnBrk="0" hangingPunct="0">
                    <a:buChar char="&gt;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1pPr>
                  <a:lvl2pPr marL="742950" indent="-28575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2pPr>
                  <a:lvl3pPr marL="11430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3pPr>
                  <a:lvl4pPr marL="1600200" indent="-22860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4pPr>
                  <a:lvl5pPr marL="20574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9pPr>
                </a:lstStyle>
                <a:p>
                  <a:pPr eaLnBrk="1" fontAlgn="auto" hangingPunct="1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altLang="de-DE" sz="1800" kern="0" dirty="0" smtClean="0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75" name="Oval 8"/>
                <p:cNvSpPr>
                  <a:spLocks noChangeArrowheads="1"/>
                </p:cNvSpPr>
                <p:nvPr/>
              </p:nvSpPr>
              <p:spPr bwMode="gray">
                <a:xfrm>
                  <a:off x="782" y="1366"/>
                  <a:ext cx="170" cy="170"/>
                </a:xfrm>
                <a:prstGeom prst="ellipse">
                  <a:avLst/>
                </a:prstGeom>
                <a:noFill/>
                <a:ln w="19050" algn="ctr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>
                  <a:lvl1pPr eaLnBrk="0" hangingPunct="0">
                    <a:buChar char="&gt;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1pPr>
                  <a:lvl2pPr marL="742950" indent="-28575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2pPr>
                  <a:lvl3pPr marL="11430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3pPr>
                  <a:lvl4pPr marL="1600200" indent="-22860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4pPr>
                  <a:lvl5pPr marL="20574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9pPr>
                </a:lstStyle>
                <a:p>
                  <a:pPr eaLnBrk="1" fontAlgn="auto" hangingPunct="1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altLang="de-DE" sz="1800" kern="0" dirty="0" smtClean="0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76" name="Line 9"/>
                <p:cNvSpPr>
                  <a:spLocks noChangeShapeType="1"/>
                </p:cNvSpPr>
                <p:nvPr/>
              </p:nvSpPr>
              <p:spPr bwMode="gray">
                <a:xfrm>
                  <a:off x="867" y="1536"/>
                  <a:ext cx="0" cy="114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77" name="Line 10"/>
                <p:cNvSpPr>
                  <a:spLocks noChangeShapeType="1"/>
                </p:cNvSpPr>
                <p:nvPr/>
              </p:nvSpPr>
              <p:spPr bwMode="gray">
                <a:xfrm>
                  <a:off x="867" y="1139"/>
                  <a:ext cx="0" cy="114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</p:grpSp>
          <p:sp>
            <p:nvSpPr>
              <p:cNvPr id="50" name="Line 84"/>
              <p:cNvSpPr>
                <a:spLocks noChangeShapeType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5277100" y="3802874"/>
                <a:ext cx="1367942" cy="0"/>
              </a:xfrm>
              <a:prstGeom prst="line">
                <a:avLst/>
              </a:prstGeom>
              <a:noFill/>
              <a:ln w="1905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fontAlgn="auto">
                  <a:spcBef>
                    <a:spcPts val="0"/>
                  </a:spcBef>
                  <a:spcAft>
                    <a:spcPct val="100000"/>
                  </a:spcAft>
                  <a:buClr>
                    <a:srgbClr val="0050A6"/>
                  </a:buClr>
                  <a:buFont typeface="Arial" pitchFamily="34" charset="0"/>
                  <a:buNone/>
                  <a:defRPr/>
                </a:pPr>
                <a:endParaRPr lang="de-DE" kern="0" dirty="0">
                  <a:solidFill>
                    <a:srgbClr val="000000"/>
                  </a:solidFill>
                  <a:latin typeface="Calibri" panose="020F0502020204030204" pitchFamily="34" charset="0"/>
                  <a:cs typeface="Arial"/>
                </a:endParaRPr>
              </a:p>
            </p:txBody>
          </p:sp>
          <p:sp>
            <p:nvSpPr>
              <p:cNvPr id="51" name="Line 84"/>
              <p:cNvSpPr>
                <a:spLocks noChangeShapeType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7189110" y="3802874"/>
                <a:ext cx="1367942" cy="0"/>
              </a:xfrm>
              <a:prstGeom prst="line">
                <a:avLst/>
              </a:prstGeom>
              <a:noFill/>
              <a:ln w="1905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fontAlgn="auto">
                  <a:spcBef>
                    <a:spcPts val="0"/>
                  </a:spcBef>
                  <a:spcAft>
                    <a:spcPct val="100000"/>
                  </a:spcAft>
                  <a:buClr>
                    <a:srgbClr val="0050A6"/>
                  </a:buClr>
                  <a:buFont typeface="Arial" pitchFamily="34" charset="0"/>
                  <a:buNone/>
                  <a:defRPr/>
                </a:pPr>
                <a:endParaRPr lang="de-DE" kern="0" dirty="0">
                  <a:solidFill>
                    <a:srgbClr val="000000"/>
                  </a:solidFill>
                  <a:latin typeface="Calibri" panose="020F0502020204030204" pitchFamily="34" charset="0"/>
                  <a:cs typeface="Arial"/>
                </a:endParaRPr>
              </a:p>
            </p:txBody>
          </p:sp>
          <p:grpSp>
            <p:nvGrpSpPr>
              <p:cNvPr id="52" name="Gruppieren 159"/>
              <p:cNvGrpSpPr>
                <a:grpSpLocks/>
              </p:cNvGrpSpPr>
              <p:nvPr>
                <p:custDataLst>
                  <p:tags r:id="rId41"/>
                </p:custDataLst>
              </p:nvPr>
            </p:nvGrpSpPr>
            <p:grpSpPr bwMode="auto">
              <a:xfrm>
                <a:off x="5126241" y="3352645"/>
                <a:ext cx="447669" cy="479957"/>
                <a:chOff x="5270379" y="2372409"/>
                <a:chExt cx="1076319" cy="1153948"/>
              </a:xfrm>
            </p:grpSpPr>
            <p:sp>
              <p:nvSpPr>
                <p:cNvPr id="69" name="Flussdiagramm: Daten 176"/>
                <p:cNvSpPr>
                  <a:spLocks noChangeArrowheads="1"/>
                </p:cNvSpPr>
                <p:nvPr/>
              </p:nvSpPr>
              <p:spPr bwMode="auto">
                <a:xfrm flipH="1">
                  <a:off x="5271025" y="2749390"/>
                  <a:ext cx="943693" cy="504561"/>
                </a:xfrm>
                <a:prstGeom prst="flowChartInputOutput">
                  <a:avLst/>
                </a:prstGeom>
                <a:solidFill>
                  <a:srgbClr val="92D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6350" algn="ctr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lIns="90000" tIns="46800" rIns="90000" bIns="46800" anchor="ctr"/>
                <a:lstStyle>
                  <a:lvl1pPr marL="266700" indent="-266700" eaLnBrk="0" hangingPunct="0">
                    <a:buChar char="&gt;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1pPr>
                  <a:lvl2pPr marL="742950" indent="-28575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2pPr>
                  <a:lvl3pPr marL="11430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3pPr>
                  <a:lvl4pPr marL="1600200" indent="-22860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4pPr>
                  <a:lvl5pPr marL="20574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9pPr>
                </a:lstStyle>
                <a:p>
                  <a:pPr algn="ctr" eaLnBrk="1" fontAlgn="auto" hangingPunct="1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altLang="de-DE" kern="0" dirty="0" smtClean="0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70" name="Freihandform 177"/>
                <p:cNvSpPr>
                  <a:spLocks/>
                </p:cNvSpPr>
                <p:nvPr/>
              </p:nvSpPr>
              <p:spPr bwMode="auto">
                <a:xfrm>
                  <a:off x="5516291" y="2655622"/>
                  <a:ext cx="254611" cy="692097"/>
                </a:xfrm>
                <a:custGeom>
                  <a:avLst/>
                  <a:gdLst>
                    <a:gd name="T0" fmla="*/ 0 w 161925"/>
                    <a:gd name="T1" fmla="*/ 0 h 352425"/>
                    <a:gd name="T2" fmla="*/ 403069 w 161925"/>
                    <a:gd name="T3" fmla="*/ 1361448 h 352425"/>
                    <a:gd name="T4" fmla="*/ 0 60000 65536"/>
                    <a:gd name="T5" fmla="*/ 0 60000 655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0" t="0" r="r" b="b"/>
                  <a:pathLst>
                    <a:path w="161925" h="352425">
                      <a:moveTo>
                        <a:pt x="0" y="0"/>
                      </a:moveTo>
                      <a:lnTo>
                        <a:pt x="161925" y="352425"/>
                      </a:lnTo>
                    </a:path>
                  </a:pathLst>
                </a:custGeom>
                <a:noFill/>
                <a:ln w="6350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71" name="Freihandform 178"/>
                <p:cNvSpPr>
                  <a:spLocks/>
                </p:cNvSpPr>
                <p:nvPr/>
              </p:nvSpPr>
              <p:spPr bwMode="auto">
                <a:xfrm>
                  <a:off x="5770902" y="2720365"/>
                  <a:ext cx="296655" cy="805959"/>
                </a:xfrm>
                <a:custGeom>
                  <a:avLst/>
                  <a:gdLst>
                    <a:gd name="T0" fmla="*/ 0 w 161925"/>
                    <a:gd name="T1" fmla="*/ 0 h 352425"/>
                    <a:gd name="T2" fmla="*/ 544642 w 161925"/>
                    <a:gd name="T3" fmla="*/ 1839660 h 352425"/>
                    <a:gd name="T4" fmla="*/ 0 60000 65536"/>
                    <a:gd name="T5" fmla="*/ 0 60000 655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0" t="0" r="r" b="b"/>
                  <a:pathLst>
                    <a:path w="161925" h="352425">
                      <a:moveTo>
                        <a:pt x="0" y="0"/>
                      </a:moveTo>
                      <a:lnTo>
                        <a:pt x="161925" y="352425"/>
                      </a:lnTo>
                    </a:path>
                  </a:pathLst>
                </a:custGeom>
                <a:noFill/>
                <a:ln w="6350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72" name="Freihandform 179"/>
                <p:cNvSpPr>
                  <a:spLocks/>
                </p:cNvSpPr>
                <p:nvPr/>
              </p:nvSpPr>
              <p:spPr bwMode="auto">
                <a:xfrm>
                  <a:off x="5341101" y="2990507"/>
                  <a:ext cx="812884" cy="46883"/>
                </a:xfrm>
                <a:custGeom>
                  <a:avLst/>
                  <a:gdLst>
                    <a:gd name="T0" fmla="*/ 0 w 640557"/>
                    <a:gd name="T1" fmla="*/ 0 h 45719"/>
                    <a:gd name="T2" fmla="*/ 1033651 w 640557"/>
                    <a:gd name="T3" fmla="*/ 0 h 45719"/>
                    <a:gd name="T4" fmla="*/ 0 60000 65536"/>
                    <a:gd name="T5" fmla="*/ 0 60000 65536"/>
                  </a:gdLst>
                  <a:ahLst/>
                  <a:cxnLst>
                    <a:cxn ang="T4">
                      <a:pos x="T0" y="T1"/>
                    </a:cxn>
                    <a:cxn ang="T5">
                      <a:pos x="T2" y="T3"/>
                    </a:cxn>
                  </a:cxnLst>
                  <a:rect l="0" t="0" r="r" b="b"/>
                  <a:pathLst>
                    <a:path w="640557" h="45719">
                      <a:moveTo>
                        <a:pt x="0" y="0"/>
                      </a:moveTo>
                      <a:lnTo>
                        <a:pt x="640557" y="0"/>
                      </a:lnTo>
                    </a:path>
                  </a:pathLst>
                </a:custGeom>
                <a:noFill/>
                <a:ln w="6350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73" name="Sonne 180"/>
                <p:cNvSpPr>
                  <a:spLocks noChangeArrowheads="1"/>
                </p:cNvSpPr>
                <p:nvPr/>
              </p:nvSpPr>
              <p:spPr bwMode="auto">
                <a:xfrm>
                  <a:off x="5719513" y="2372084"/>
                  <a:ext cx="628349" cy="629585"/>
                </a:xfrm>
                <a:prstGeom prst="sun">
                  <a:avLst>
                    <a:gd name="adj" fmla="val 25000"/>
                  </a:avLst>
                </a:prstGeom>
                <a:solidFill>
                  <a:srgbClr val="92D050"/>
                </a:solidFill>
                <a:ln w="12700" algn="ctr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 lIns="90000" tIns="46800" rIns="90000" bIns="46800" anchor="ctr"/>
                <a:lstStyle>
                  <a:lvl1pPr marL="266700" indent="-266700" eaLnBrk="0" hangingPunct="0">
                    <a:buChar char="&gt;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1pPr>
                  <a:lvl2pPr marL="742950" indent="-28575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2pPr>
                  <a:lvl3pPr marL="11430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3pPr>
                  <a:lvl4pPr marL="1600200" indent="-22860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4pPr>
                  <a:lvl5pPr marL="20574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9pPr>
                </a:lstStyle>
                <a:p>
                  <a:pPr algn="ctr" eaLnBrk="1" fontAlgn="auto" hangingPunct="1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altLang="de-DE" kern="0" dirty="0" smtClean="0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</p:grpSp>
          <p:sp>
            <p:nvSpPr>
              <p:cNvPr id="53" name="Bogen 52"/>
              <p:cNvSpPr/>
              <p:nvPr>
                <p:custDataLst>
                  <p:tags r:id="rId42"/>
                </p:custDataLst>
              </p:nvPr>
            </p:nvSpPr>
            <p:spPr bwMode="auto">
              <a:xfrm>
                <a:off x="7085154" y="2669071"/>
                <a:ext cx="1195978" cy="1254519"/>
              </a:xfrm>
              <a:prstGeom prst="arc">
                <a:avLst>
                  <a:gd name="adj1" fmla="val 11129714"/>
                  <a:gd name="adj2" fmla="val 16212601"/>
                </a:avLst>
              </a:prstGeom>
              <a:noFill/>
              <a:ln w="38100" cap="flat" cmpd="sng" algn="ctr">
                <a:solidFill>
                  <a:srgbClr val="92D050"/>
                </a:solidFill>
                <a:prstDash val="solid"/>
                <a:round/>
                <a:headEnd type="arrow" w="med" len="sm"/>
                <a:tailEnd type="arrow" w="med" len="sm"/>
              </a:ln>
              <a:effectLst/>
            </p:spPr>
            <p:txBody>
              <a:bodyPr wrap="none" lIns="90000" tIns="46800" rIns="90000" bIns="46800" anchor="ctr"/>
              <a:lstStyle/>
              <a:p>
                <a:pPr algn="ctr" fontAlgn="auto">
                  <a:spcBef>
                    <a:spcPts val="0"/>
                  </a:spcBef>
                  <a:spcAft>
                    <a:spcPct val="100000"/>
                  </a:spcAft>
                  <a:buClr>
                    <a:srgbClr val="0050A6"/>
                  </a:buClr>
                  <a:buFont typeface="Arial" pitchFamily="23" charset="0"/>
                  <a:buNone/>
                  <a:defRPr/>
                </a:pPr>
                <a:endParaRPr lang="de-DE" kern="0" dirty="0">
                  <a:solidFill>
                    <a:srgbClr val="000000"/>
                  </a:solidFill>
                  <a:latin typeface="Calibri" panose="020F0502020204030204" pitchFamily="34" charset="0"/>
                  <a:cs typeface="Arial"/>
                </a:endParaRPr>
              </a:p>
            </p:txBody>
          </p:sp>
          <p:grpSp>
            <p:nvGrpSpPr>
              <p:cNvPr id="54" name="Group 6"/>
              <p:cNvGrpSpPr>
                <a:grpSpLocks/>
              </p:cNvGrpSpPr>
              <p:nvPr>
                <p:custDataLst>
                  <p:tags r:id="rId43"/>
                </p:custDataLst>
              </p:nvPr>
            </p:nvGrpSpPr>
            <p:grpSpPr bwMode="auto">
              <a:xfrm>
                <a:off x="6828743" y="2733194"/>
                <a:ext cx="176253" cy="529795"/>
                <a:chOff x="782" y="1139"/>
                <a:chExt cx="170" cy="511"/>
              </a:xfrm>
            </p:grpSpPr>
            <p:sp>
              <p:nvSpPr>
                <p:cNvPr id="65" name="Oval 7"/>
                <p:cNvSpPr>
                  <a:spLocks noChangeArrowheads="1"/>
                </p:cNvSpPr>
                <p:nvPr/>
              </p:nvSpPr>
              <p:spPr bwMode="gray">
                <a:xfrm>
                  <a:off x="782" y="1253"/>
                  <a:ext cx="171" cy="170"/>
                </a:xfrm>
                <a:prstGeom prst="ellipse">
                  <a:avLst/>
                </a:prstGeom>
                <a:noFill/>
                <a:ln w="19050" algn="ctr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>
                  <a:lvl1pPr eaLnBrk="0" hangingPunct="0">
                    <a:buChar char="&gt;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1pPr>
                  <a:lvl2pPr marL="742950" indent="-28575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2pPr>
                  <a:lvl3pPr marL="11430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3pPr>
                  <a:lvl4pPr marL="1600200" indent="-22860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4pPr>
                  <a:lvl5pPr marL="20574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9pPr>
                </a:lstStyle>
                <a:p>
                  <a:pPr eaLnBrk="1" fontAlgn="auto" hangingPunct="1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altLang="de-DE" sz="1800" kern="0" dirty="0" smtClean="0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66" name="Oval 8"/>
                <p:cNvSpPr>
                  <a:spLocks noChangeArrowheads="1"/>
                </p:cNvSpPr>
                <p:nvPr/>
              </p:nvSpPr>
              <p:spPr bwMode="gray">
                <a:xfrm>
                  <a:off x="782" y="1366"/>
                  <a:ext cx="171" cy="170"/>
                </a:xfrm>
                <a:prstGeom prst="ellipse">
                  <a:avLst/>
                </a:prstGeom>
                <a:noFill/>
                <a:ln w="19050" algn="ctr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bg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>
                  <a:lvl1pPr eaLnBrk="0" hangingPunct="0">
                    <a:buChar char="&gt;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1pPr>
                  <a:lvl2pPr marL="742950" indent="-28575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2pPr>
                  <a:lvl3pPr marL="11430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3pPr>
                  <a:lvl4pPr marL="1600200" indent="-228600" eaLnBrk="0" hangingPunct="0">
                    <a:buChar char="–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4pPr>
                  <a:lvl5pPr marL="2057400" indent="-228600" eaLnBrk="0" hangingPunct="0"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Char char="•"/>
                    <a:defRPr sz="2000">
                      <a:solidFill>
                        <a:schemeClr val="tx1"/>
                      </a:solidFill>
                      <a:latin typeface="Arial" pitchFamily="34" charset="0"/>
                      <a:ea typeface="MS PGothic" pitchFamily="34" charset="-128"/>
                      <a:cs typeface="Arial" pitchFamily="34" charset="0"/>
                    </a:defRPr>
                  </a:lvl9pPr>
                </a:lstStyle>
                <a:p>
                  <a:pPr eaLnBrk="1" fontAlgn="auto" hangingPunct="1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altLang="de-DE" sz="1800" kern="0" dirty="0" smtClean="0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67" name="Line 9"/>
                <p:cNvSpPr>
                  <a:spLocks noChangeShapeType="1"/>
                </p:cNvSpPr>
                <p:nvPr/>
              </p:nvSpPr>
              <p:spPr bwMode="gray">
                <a:xfrm>
                  <a:off x="867" y="1538"/>
                  <a:ext cx="0" cy="114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68" name="Line 10"/>
                <p:cNvSpPr>
                  <a:spLocks noChangeShapeType="1"/>
                </p:cNvSpPr>
                <p:nvPr/>
              </p:nvSpPr>
              <p:spPr bwMode="gray">
                <a:xfrm>
                  <a:off x="867" y="1139"/>
                  <a:ext cx="0" cy="114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lIns="90000" tIns="46800" rIns="90000" bIns="46800" anchor="ctr"/>
                <a:lstStyle/>
                <a:p>
                  <a:pPr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None/>
                    <a:defRPr/>
                  </a:pPr>
                  <a:endParaRPr lang="de-DE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</p:grpSp>
          <p:sp>
            <p:nvSpPr>
              <p:cNvPr id="55" name="Bogen 54"/>
              <p:cNvSpPr/>
              <p:nvPr>
                <p:custDataLst>
                  <p:tags r:id="rId44"/>
                </p:custDataLst>
              </p:nvPr>
            </p:nvSpPr>
            <p:spPr bwMode="auto">
              <a:xfrm>
                <a:off x="5615199" y="3854875"/>
                <a:ext cx="708260" cy="963871"/>
              </a:xfrm>
              <a:prstGeom prst="arc">
                <a:avLst>
                  <a:gd name="adj1" fmla="val 11129714"/>
                  <a:gd name="adj2" fmla="val 21244126"/>
                </a:avLst>
              </a:prstGeom>
              <a:noFill/>
              <a:ln w="38100" cap="flat" cmpd="sng" algn="ctr">
                <a:solidFill>
                  <a:srgbClr val="92D050"/>
                </a:solidFill>
                <a:prstDash val="solid"/>
                <a:round/>
                <a:headEnd type="arrow" w="med" len="sm"/>
                <a:tailEnd type="arrow" w="med" len="sm"/>
              </a:ln>
              <a:effectLst/>
            </p:spPr>
            <p:txBody>
              <a:bodyPr wrap="none" lIns="90000" tIns="46800" rIns="90000" bIns="46800" anchor="ctr"/>
              <a:lstStyle/>
              <a:p>
                <a:pPr algn="ctr" fontAlgn="auto">
                  <a:spcBef>
                    <a:spcPts val="0"/>
                  </a:spcBef>
                  <a:spcAft>
                    <a:spcPct val="100000"/>
                  </a:spcAft>
                  <a:buClr>
                    <a:srgbClr val="0050A6"/>
                  </a:buClr>
                  <a:buFont typeface="Arial" pitchFamily="23" charset="0"/>
                  <a:buNone/>
                  <a:defRPr/>
                </a:pPr>
                <a:endParaRPr lang="de-DE" kern="0" dirty="0">
                  <a:solidFill>
                    <a:srgbClr val="000000"/>
                  </a:solidFill>
                  <a:latin typeface="Calibri" panose="020F0502020204030204" pitchFamily="34" charset="0"/>
                  <a:cs typeface="Arial"/>
                </a:endParaRPr>
              </a:p>
            </p:txBody>
          </p:sp>
          <p:grpSp>
            <p:nvGrpSpPr>
              <p:cNvPr id="56" name="Gruppieren 55"/>
              <p:cNvGrpSpPr/>
              <p:nvPr>
                <p:custDataLst>
                  <p:tags r:id="rId45"/>
                </p:custDataLst>
              </p:nvPr>
            </p:nvGrpSpPr>
            <p:grpSpPr>
              <a:xfrm>
                <a:off x="6973907" y="2316321"/>
                <a:ext cx="450227" cy="364493"/>
                <a:chOff x="3398519" y="1714500"/>
                <a:chExt cx="621214" cy="502920"/>
              </a:xfrm>
              <a:solidFill>
                <a:srgbClr val="0050A6">
                  <a:lumMod val="20000"/>
                  <a:lumOff val="80000"/>
                </a:srgbClr>
              </a:solidFill>
            </p:grpSpPr>
            <p:sp>
              <p:nvSpPr>
                <p:cNvPr id="63" name="Rechteck 62"/>
                <p:cNvSpPr/>
                <p:nvPr/>
              </p:nvSpPr>
              <p:spPr bwMode="auto">
                <a:xfrm>
                  <a:off x="3541451" y="1931508"/>
                  <a:ext cx="478282" cy="285912"/>
                </a:xfrm>
                <a:prstGeom prst="rect">
                  <a:avLst/>
                </a:prstGeom>
                <a:grpFill/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64" name="Freihandform 63"/>
                <p:cNvSpPr/>
                <p:nvPr/>
              </p:nvSpPr>
              <p:spPr bwMode="auto">
                <a:xfrm>
                  <a:off x="3398519" y="1714500"/>
                  <a:ext cx="335282" cy="502920"/>
                </a:xfrm>
                <a:custGeom>
                  <a:avLst/>
                  <a:gdLst>
                    <a:gd name="connsiteX0" fmla="*/ 7620 w 350520"/>
                    <a:gd name="connsiteY0" fmla="*/ 0 h 502920"/>
                    <a:gd name="connsiteX1" fmla="*/ 350520 w 350520"/>
                    <a:gd name="connsiteY1" fmla="*/ 0 h 502920"/>
                    <a:gd name="connsiteX2" fmla="*/ 350520 w 350520"/>
                    <a:gd name="connsiteY2" fmla="*/ 502920 h 502920"/>
                    <a:gd name="connsiteX3" fmla="*/ 0 w 350520"/>
                    <a:gd name="connsiteY3" fmla="*/ 502920 h 502920"/>
                    <a:gd name="connsiteX4" fmla="*/ 7620 w 350520"/>
                    <a:gd name="connsiteY4" fmla="*/ 0 h 502920"/>
                    <a:gd name="connsiteX0" fmla="*/ 0 w 342900"/>
                    <a:gd name="connsiteY0" fmla="*/ 0 h 502920"/>
                    <a:gd name="connsiteX1" fmla="*/ 342900 w 342900"/>
                    <a:gd name="connsiteY1" fmla="*/ 0 h 502920"/>
                    <a:gd name="connsiteX2" fmla="*/ 342900 w 342900"/>
                    <a:gd name="connsiteY2" fmla="*/ 502920 h 502920"/>
                    <a:gd name="connsiteX3" fmla="*/ 7620 w 342900"/>
                    <a:gd name="connsiteY3" fmla="*/ 502920 h 502920"/>
                    <a:gd name="connsiteX4" fmla="*/ 0 w 342900"/>
                    <a:gd name="connsiteY4" fmla="*/ 0 h 502920"/>
                    <a:gd name="connsiteX0" fmla="*/ 0 w 342900"/>
                    <a:gd name="connsiteY0" fmla="*/ 0 h 502920"/>
                    <a:gd name="connsiteX1" fmla="*/ 342900 w 342900"/>
                    <a:gd name="connsiteY1" fmla="*/ 0 h 502920"/>
                    <a:gd name="connsiteX2" fmla="*/ 342900 w 342900"/>
                    <a:gd name="connsiteY2" fmla="*/ 502920 h 502920"/>
                    <a:gd name="connsiteX3" fmla="*/ 7620 w 342900"/>
                    <a:gd name="connsiteY3" fmla="*/ 502920 h 502920"/>
                    <a:gd name="connsiteX4" fmla="*/ 7620 w 342900"/>
                    <a:gd name="connsiteY4" fmla="*/ 236220 h 502920"/>
                    <a:gd name="connsiteX5" fmla="*/ 0 w 342900"/>
                    <a:gd name="connsiteY5" fmla="*/ 0 h 502920"/>
                    <a:gd name="connsiteX0" fmla="*/ 0 w 342900"/>
                    <a:gd name="connsiteY0" fmla="*/ 0 h 502920"/>
                    <a:gd name="connsiteX1" fmla="*/ 342900 w 342900"/>
                    <a:gd name="connsiteY1" fmla="*/ 0 h 502920"/>
                    <a:gd name="connsiteX2" fmla="*/ 342900 w 342900"/>
                    <a:gd name="connsiteY2" fmla="*/ 502920 h 502920"/>
                    <a:gd name="connsiteX3" fmla="*/ 7620 w 342900"/>
                    <a:gd name="connsiteY3" fmla="*/ 502920 h 502920"/>
                    <a:gd name="connsiteX4" fmla="*/ 83820 w 342900"/>
                    <a:gd name="connsiteY4" fmla="*/ 243840 h 502920"/>
                    <a:gd name="connsiteX5" fmla="*/ 0 w 342900"/>
                    <a:gd name="connsiteY5" fmla="*/ 0 h 502920"/>
                    <a:gd name="connsiteX0" fmla="*/ 0 w 342900"/>
                    <a:gd name="connsiteY0" fmla="*/ 0 h 502920"/>
                    <a:gd name="connsiteX1" fmla="*/ 342900 w 342900"/>
                    <a:gd name="connsiteY1" fmla="*/ 0 h 502920"/>
                    <a:gd name="connsiteX2" fmla="*/ 335280 w 342900"/>
                    <a:gd name="connsiteY2" fmla="*/ 259080 h 502920"/>
                    <a:gd name="connsiteX3" fmla="*/ 342900 w 342900"/>
                    <a:gd name="connsiteY3" fmla="*/ 502920 h 502920"/>
                    <a:gd name="connsiteX4" fmla="*/ 7620 w 342900"/>
                    <a:gd name="connsiteY4" fmla="*/ 502920 h 502920"/>
                    <a:gd name="connsiteX5" fmla="*/ 83820 w 342900"/>
                    <a:gd name="connsiteY5" fmla="*/ 243840 h 502920"/>
                    <a:gd name="connsiteX6" fmla="*/ 0 w 342900"/>
                    <a:gd name="connsiteY6" fmla="*/ 0 h 502920"/>
                    <a:gd name="connsiteX0" fmla="*/ 0 w 342900"/>
                    <a:gd name="connsiteY0" fmla="*/ 0 h 502920"/>
                    <a:gd name="connsiteX1" fmla="*/ 342900 w 342900"/>
                    <a:gd name="connsiteY1" fmla="*/ 0 h 502920"/>
                    <a:gd name="connsiteX2" fmla="*/ 251460 w 342900"/>
                    <a:gd name="connsiteY2" fmla="*/ 259080 h 502920"/>
                    <a:gd name="connsiteX3" fmla="*/ 342900 w 342900"/>
                    <a:gd name="connsiteY3" fmla="*/ 502920 h 502920"/>
                    <a:gd name="connsiteX4" fmla="*/ 7620 w 342900"/>
                    <a:gd name="connsiteY4" fmla="*/ 502920 h 502920"/>
                    <a:gd name="connsiteX5" fmla="*/ 83820 w 342900"/>
                    <a:gd name="connsiteY5" fmla="*/ 243840 h 502920"/>
                    <a:gd name="connsiteX6" fmla="*/ 0 w 342900"/>
                    <a:gd name="connsiteY6" fmla="*/ 0 h 502920"/>
                    <a:gd name="connsiteX0" fmla="*/ 0 w 351050"/>
                    <a:gd name="connsiteY0" fmla="*/ 0 h 502920"/>
                    <a:gd name="connsiteX1" fmla="*/ 342900 w 351050"/>
                    <a:gd name="connsiteY1" fmla="*/ 0 h 502920"/>
                    <a:gd name="connsiteX2" fmla="*/ 251460 w 351050"/>
                    <a:gd name="connsiteY2" fmla="*/ 259080 h 502920"/>
                    <a:gd name="connsiteX3" fmla="*/ 342900 w 351050"/>
                    <a:gd name="connsiteY3" fmla="*/ 502920 h 502920"/>
                    <a:gd name="connsiteX4" fmla="*/ 7620 w 351050"/>
                    <a:gd name="connsiteY4" fmla="*/ 502920 h 502920"/>
                    <a:gd name="connsiteX5" fmla="*/ 83820 w 351050"/>
                    <a:gd name="connsiteY5" fmla="*/ 243840 h 502920"/>
                    <a:gd name="connsiteX6" fmla="*/ 0 w 351050"/>
                    <a:gd name="connsiteY6" fmla="*/ 0 h 502920"/>
                    <a:gd name="connsiteX0" fmla="*/ 9024 w 360074"/>
                    <a:gd name="connsiteY0" fmla="*/ 0 h 502920"/>
                    <a:gd name="connsiteX1" fmla="*/ 351924 w 360074"/>
                    <a:gd name="connsiteY1" fmla="*/ 0 h 502920"/>
                    <a:gd name="connsiteX2" fmla="*/ 260484 w 360074"/>
                    <a:gd name="connsiteY2" fmla="*/ 259080 h 502920"/>
                    <a:gd name="connsiteX3" fmla="*/ 351924 w 360074"/>
                    <a:gd name="connsiteY3" fmla="*/ 502920 h 502920"/>
                    <a:gd name="connsiteX4" fmla="*/ 16644 w 360074"/>
                    <a:gd name="connsiteY4" fmla="*/ 502920 h 502920"/>
                    <a:gd name="connsiteX5" fmla="*/ 92844 w 360074"/>
                    <a:gd name="connsiteY5" fmla="*/ 243840 h 502920"/>
                    <a:gd name="connsiteX6" fmla="*/ 9024 w 360074"/>
                    <a:gd name="connsiteY6" fmla="*/ 0 h 502920"/>
                    <a:gd name="connsiteX0" fmla="*/ 9024 w 359690"/>
                    <a:gd name="connsiteY0" fmla="*/ 0 h 502920"/>
                    <a:gd name="connsiteX1" fmla="*/ 351924 w 359690"/>
                    <a:gd name="connsiteY1" fmla="*/ 0 h 502920"/>
                    <a:gd name="connsiteX2" fmla="*/ 260484 w 359690"/>
                    <a:gd name="connsiteY2" fmla="*/ 259080 h 502920"/>
                    <a:gd name="connsiteX3" fmla="*/ 351924 w 359690"/>
                    <a:gd name="connsiteY3" fmla="*/ 502920 h 502920"/>
                    <a:gd name="connsiteX4" fmla="*/ 16644 w 359690"/>
                    <a:gd name="connsiteY4" fmla="*/ 502920 h 502920"/>
                    <a:gd name="connsiteX5" fmla="*/ 92844 w 359690"/>
                    <a:gd name="connsiteY5" fmla="*/ 243840 h 502920"/>
                    <a:gd name="connsiteX6" fmla="*/ 9024 w 359690"/>
                    <a:gd name="connsiteY6" fmla="*/ 0 h 502920"/>
                    <a:gd name="connsiteX0" fmla="*/ 9024 w 351924"/>
                    <a:gd name="connsiteY0" fmla="*/ 0 h 502920"/>
                    <a:gd name="connsiteX1" fmla="*/ 351924 w 351924"/>
                    <a:gd name="connsiteY1" fmla="*/ 0 h 502920"/>
                    <a:gd name="connsiteX2" fmla="*/ 260484 w 351924"/>
                    <a:gd name="connsiteY2" fmla="*/ 259080 h 502920"/>
                    <a:gd name="connsiteX3" fmla="*/ 351924 w 351924"/>
                    <a:gd name="connsiteY3" fmla="*/ 502920 h 502920"/>
                    <a:gd name="connsiteX4" fmla="*/ 16644 w 351924"/>
                    <a:gd name="connsiteY4" fmla="*/ 502920 h 502920"/>
                    <a:gd name="connsiteX5" fmla="*/ 92844 w 351924"/>
                    <a:gd name="connsiteY5" fmla="*/ 243840 h 502920"/>
                    <a:gd name="connsiteX6" fmla="*/ 9024 w 351924"/>
                    <a:gd name="connsiteY6" fmla="*/ 0 h 502920"/>
                    <a:gd name="connsiteX0" fmla="*/ 9024 w 351924"/>
                    <a:gd name="connsiteY0" fmla="*/ 0 h 502920"/>
                    <a:gd name="connsiteX1" fmla="*/ 351924 w 351924"/>
                    <a:gd name="connsiteY1" fmla="*/ 0 h 502920"/>
                    <a:gd name="connsiteX2" fmla="*/ 291441 w 351924"/>
                    <a:gd name="connsiteY2" fmla="*/ 249555 h 502920"/>
                    <a:gd name="connsiteX3" fmla="*/ 351924 w 351924"/>
                    <a:gd name="connsiteY3" fmla="*/ 502920 h 502920"/>
                    <a:gd name="connsiteX4" fmla="*/ 16644 w 351924"/>
                    <a:gd name="connsiteY4" fmla="*/ 502920 h 502920"/>
                    <a:gd name="connsiteX5" fmla="*/ 92844 w 351924"/>
                    <a:gd name="connsiteY5" fmla="*/ 243840 h 502920"/>
                    <a:gd name="connsiteX6" fmla="*/ 9024 w 351924"/>
                    <a:gd name="connsiteY6" fmla="*/ 0 h 502920"/>
                    <a:gd name="connsiteX0" fmla="*/ 1719 w 344619"/>
                    <a:gd name="connsiteY0" fmla="*/ 0 h 502920"/>
                    <a:gd name="connsiteX1" fmla="*/ 344619 w 344619"/>
                    <a:gd name="connsiteY1" fmla="*/ 0 h 502920"/>
                    <a:gd name="connsiteX2" fmla="*/ 284136 w 344619"/>
                    <a:gd name="connsiteY2" fmla="*/ 249555 h 502920"/>
                    <a:gd name="connsiteX3" fmla="*/ 344619 w 344619"/>
                    <a:gd name="connsiteY3" fmla="*/ 502920 h 502920"/>
                    <a:gd name="connsiteX4" fmla="*/ 9339 w 344619"/>
                    <a:gd name="connsiteY4" fmla="*/ 502920 h 502920"/>
                    <a:gd name="connsiteX5" fmla="*/ 85539 w 344619"/>
                    <a:gd name="connsiteY5" fmla="*/ 243840 h 502920"/>
                    <a:gd name="connsiteX6" fmla="*/ 1719 w 344619"/>
                    <a:gd name="connsiteY6" fmla="*/ 0 h 502920"/>
                    <a:gd name="connsiteX0" fmla="*/ 0 w 342900"/>
                    <a:gd name="connsiteY0" fmla="*/ 0 h 502920"/>
                    <a:gd name="connsiteX1" fmla="*/ 342900 w 342900"/>
                    <a:gd name="connsiteY1" fmla="*/ 0 h 502920"/>
                    <a:gd name="connsiteX2" fmla="*/ 282417 w 342900"/>
                    <a:gd name="connsiteY2" fmla="*/ 249555 h 502920"/>
                    <a:gd name="connsiteX3" fmla="*/ 342900 w 342900"/>
                    <a:gd name="connsiteY3" fmla="*/ 502920 h 502920"/>
                    <a:gd name="connsiteX4" fmla="*/ 7620 w 342900"/>
                    <a:gd name="connsiteY4" fmla="*/ 502920 h 502920"/>
                    <a:gd name="connsiteX5" fmla="*/ 83820 w 342900"/>
                    <a:gd name="connsiteY5" fmla="*/ 243840 h 502920"/>
                    <a:gd name="connsiteX6" fmla="*/ 0 w 342900"/>
                    <a:gd name="connsiteY6" fmla="*/ 0 h 502920"/>
                    <a:gd name="connsiteX0" fmla="*/ 0 w 342900"/>
                    <a:gd name="connsiteY0" fmla="*/ 0 h 502920"/>
                    <a:gd name="connsiteX1" fmla="*/ 342900 w 342900"/>
                    <a:gd name="connsiteY1" fmla="*/ 0 h 502920"/>
                    <a:gd name="connsiteX2" fmla="*/ 282417 w 342900"/>
                    <a:gd name="connsiteY2" fmla="*/ 249555 h 502920"/>
                    <a:gd name="connsiteX3" fmla="*/ 342900 w 342900"/>
                    <a:gd name="connsiteY3" fmla="*/ 502920 h 502920"/>
                    <a:gd name="connsiteX4" fmla="*/ 7620 w 342900"/>
                    <a:gd name="connsiteY4" fmla="*/ 502920 h 502920"/>
                    <a:gd name="connsiteX5" fmla="*/ 62389 w 342900"/>
                    <a:gd name="connsiteY5" fmla="*/ 253365 h 502920"/>
                    <a:gd name="connsiteX6" fmla="*/ 0 w 342900"/>
                    <a:gd name="connsiteY6" fmla="*/ 0 h 502920"/>
                    <a:gd name="connsiteX0" fmla="*/ 0 w 342900"/>
                    <a:gd name="connsiteY0" fmla="*/ 0 h 502920"/>
                    <a:gd name="connsiteX1" fmla="*/ 326231 w 342900"/>
                    <a:gd name="connsiteY1" fmla="*/ 0 h 502920"/>
                    <a:gd name="connsiteX2" fmla="*/ 282417 w 342900"/>
                    <a:gd name="connsiteY2" fmla="*/ 249555 h 502920"/>
                    <a:gd name="connsiteX3" fmla="*/ 342900 w 342900"/>
                    <a:gd name="connsiteY3" fmla="*/ 502920 h 502920"/>
                    <a:gd name="connsiteX4" fmla="*/ 7620 w 342900"/>
                    <a:gd name="connsiteY4" fmla="*/ 502920 h 502920"/>
                    <a:gd name="connsiteX5" fmla="*/ 62389 w 342900"/>
                    <a:gd name="connsiteY5" fmla="*/ 253365 h 502920"/>
                    <a:gd name="connsiteX6" fmla="*/ 0 w 342900"/>
                    <a:gd name="connsiteY6" fmla="*/ 0 h 502920"/>
                    <a:gd name="connsiteX0" fmla="*/ 16195 w 335282"/>
                    <a:gd name="connsiteY0" fmla="*/ 0 h 502920"/>
                    <a:gd name="connsiteX1" fmla="*/ 318613 w 335282"/>
                    <a:gd name="connsiteY1" fmla="*/ 0 h 502920"/>
                    <a:gd name="connsiteX2" fmla="*/ 274799 w 335282"/>
                    <a:gd name="connsiteY2" fmla="*/ 249555 h 502920"/>
                    <a:gd name="connsiteX3" fmla="*/ 335282 w 335282"/>
                    <a:gd name="connsiteY3" fmla="*/ 502920 h 502920"/>
                    <a:gd name="connsiteX4" fmla="*/ 2 w 335282"/>
                    <a:gd name="connsiteY4" fmla="*/ 502920 h 502920"/>
                    <a:gd name="connsiteX5" fmla="*/ 54771 w 335282"/>
                    <a:gd name="connsiteY5" fmla="*/ 253365 h 502920"/>
                    <a:gd name="connsiteX6" fmla="*/ 16195 w 335282"/>
                    <a:gd name="connsiteY6" fmla="*/ 0 h 5029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35282" h="502920">
                      <a:moveTo>
                        <a:pt x="16195" y="0"/>
                      </a:moveTo>
                      <a:lnTo>
                        <a:pt x="318613" y="0"/>
                      </a:lnTo>
                      <a:cubicBezTo>
                        <a:pt x="312898" y="83661"/>
                        <a:pt x="272021" y="165735"/>
                        <a:pt x="274799" y="249555"/>
                      </a:cubicBezTo>
                      <a:cubicBezTo>
                        <a:pt x="277577" y="333375"/>
                        <a:pt x="333060" y="443230"/>
                        <a:pt x="335282" y="502920"/>
                      </a:cubicBezTo>
                      <a:lnTo>
                        <a:pt x="2" y="502920"/>
                      </a:lnTo>
                      <a:cubicBezTo>
                        <a:pt x="-316" y="445453"/>
                        <a:pt x="52072" y="337185"/>
                        <a:pt x="54771" y="253365"/>
                      </a:cubicBezTo>
                      <a:cubicBezTo>
                        <a:pt x="57470" y="169545"/>
                        <a:pt x="20640" y="69215"/>
                        <a:pt x="16195" y="0"/>
                      </a:cubicBezTo>
                      <a:close/>
                    </a:path>
                  </a:pathLst>
                </a:custGeom>
                <a:grpFill/>
                <a:ln w="6350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</p:grpSp>
          <p:grpSp>
            <p:nvGrpSpPr>
              <p:cNvPr id="57" name="Gruppieren 164"/>
              <p:cNvGrpSpPr>
                <a:grpSpLocks/>
              </p:cNvGrpSpPr>
              <p:nvPr>
                <p:custDataLst>
                  <p:tags r:id="rId46"/>
                </p:custDataLst>
              </p:nvPr>
            </p:nvGrpSpPr>
            <p:grpSpPr bwMode="auto">
              <a:xfrm>
                <a:off x="6334196" y="2316321"/>
                <a:ext cx="445166" cy="364493"/>
                <a:chOff x="1604138" y="2200907"/>
                <a:chExt cx="445166" cy="364493"/>
              </a:xfrm>
            </p:grpSpPr>
            <p:sp>
              <p:nvSpPr>
                <p:cNvPr id="61" name="Flussdiagramm: Verzögerung 60"/>
                <p:cNvSpPr/>
                <p:nvPr/>
              </p:nvSpPr>
              <p:spPr bwMode="auto">
                <a:xfrm rot="16200000">
                  <a:off x="1804362" y="2318247"/>
                  <a:ext cx="236789" cy="252603"/>
                </a:xfrm>
                <a:prstGeom prst="flowChartDelay">
                  <a:avLst/>
                </a:prstGeom>
                <a:solidFill>
                  <a:srgbClr val="0050A6">
                    <a:lumMod val="20000"/>
                    <a:lumOff val="80000"/>
                  </a:srgbClr>
                </a:solidFill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  <p:sp>
              <p:nvSpPr>
                <p:cNvPr id="62" name="Freihandform 61"/>
                <p:cNvSpPr/>
                <p:nvPr/>
              </p:nvSpPr>
              <p:spPr bwMode="auto">
                <a:xfrm>
                  <a:off x="1604088" y="2200795"/>
                  <a:ext cx="242887" cy="365862"/>
                </a:xfrm>
                <a:custGeom>
                  <a:avLst/>
                  <a:gdLst>
                    <a:gd name="connsiteX0" fmla="*/ 7620 w 350520"/>
                    <a:gd name="connsiteY0" fmla="*/ 0 h 502920"/>
                    <a:gd name="connsiteX1" fmla="*/ 350520 w 350520"/>
                    <a:gd name="connsiteY1" fmla="*/ 0 h 502920"/>
                    <a:gd name="connsiteX2" fmla="*/ 350520 w 350520"/>
                    <a:gd name="connsiteY2" fmla="*/ 502920 h 502920"/>
                    <a:gd name="connsiteX3" fmla="*/ 0 w 350520"/>
                    <a:gd name="connsiteY3" fmla="*/ 502920 h 502920"/>
                    <a:gd name="connsiteX4" fmla="*/ 7620 w 350520"/>
                    <a:gd name="connsiteY4" fmla="*/ 0 h 502920"/>
                    <a:gd name="connsiteX0" fmla="*/ 0 w 342900"/>
                    <a:gd name="connsiteY0" fmla="*/ 0 h 502920"/>
                    <a:gd name="connsiteX1" fmla="*/ 342900 w 342900"/>
                    <a:gd name="connsiteY1" fmla="*/ 0 h 502920"/>
                    <a:gd name="connsiteX2" fmla="*/ 342900 w 342900"/>
                    <a:gd name="connsiteY2" fmla="*/ 502920 h 502920"/>
                    <a:gd name="connsiteX3" fmla="*/ 7620 w 342900"/>
                    <a:gd name="connsiteY3" fmla="*/ 502920 h 502920"/>
                    <a:gd name="connsiteX4" fmla="*/ 0 w 342900"/>
                    <a:gd name="connsiteY4" fmla="*/ 0 h 502920"/>
                    <a:gd name="connsiteX0" fmla="*/ 0 w 342900"/>
                    <a:gd name="connsiteY0" fmla="*/ 0 h 502920"/>
                    <a:gd name="connsiteX1" fmla="*/ 342900 w 342900"/>
                    <a:gd name="connsiteY1" fmla="*/ 0 h 502920"/>
                    <a:gd name="connsiteX2" fmla="*/ 342900 w 342900"/>
                    <a:gd name="connsiteY2" fmla="*/ 502920 h 502920"/>
                    <a:gd name="connsiteX3" fmla="*/ 7620 w 342900"/>
                    <a:gd name="connsiteY3" fmla="*/ 502920 h 502920"/>
                    <a:gd name="connsiteX4" fmla="*/ 7620 w 342900"/>
                    <a:gd name="connsiteY4" fmla="*/ 236220 h 502920"/>
                    <a:gd name="connsiteX5" fmla="*/ 0 w 342900"/>
                    <a:gd name="connsiteY5" fmla="*/ 0 h 502920"/>
                    <a:gd name="connsiteX0" fmla="*/ 0 w 342900"/>
                    <a:gd name="connsiteY0" fmla="*/ 0 h 502920"/>
                    <a:gd name="connsiteX1" fmla="*/ 342900 w 342900"/>
                    <a:gd name="connsiteY1" fmla="*/ 0 h 502920"/>
                    <a:gd name="connsiteX2" fmla="*/ 342900 w 342900"/>
                    <a:gd name="connsiteY2" fmla="*/ 502920 h 502920"/>
                    <a:gd name="connsiteX3" fmla="*/ 7620 w 342900"/>
                    <a:gd name="connsiteY3" fmla="*/ 502920 h 502920"/>
                    <a:gd name="connsiteX4" fmla="*/ 83820 w 342900"/>
                    <a:gd name="connsiteY4" fmla="*/ 243840 h 502920"/>
                    <a:gd name="connsiteX5" fmla="*/ 0 w 342900"/>
                    <a:gd name="connsiteY5" fmla="*/ 0 h 502920"/>
                    <a:gd name="connsiteX0" fmla="*/ 0 w 342900"/>
                    <a:gd name="connsiteY0" fmla="*/ 0 h 502920"/>
                    <a:gd name="connsiteX1" fmla="*/ 342900 w 342900"/>
                    <a:gd name="connsiteY1" fmla="*/ 0 h 502920"/>
                    <a:gd name="connsiteX2" fmla="*/ 335280 w 342900"/>
                    <a:gd name="connsiteY2" fmla="*/ 259080 h 502920"/>
                    <a:gd name="connsiteX3" fmla="*/ 342900 w 342900"/>
                    <a:gd name="connsiteY3" fmla="*/ 502920 h 502920"/>
                    <a:gd name="connsiteX4" fmla="*/ 7620 w 342900"/>
                    <a:gd name="connsiteY4" fmla="*/ 502920 h 502920"/>
                    <a:gd name="connsiteX5" fmla="*/ 83820 w 342900"/>
                    <a:gd name="connsiteY5" fmla="*/ 243840 h 502920"/>
                    <a:gd name="connsiteX6" fmla="*/ 0 w 342900"/>
                    <a:gd name="connsiteY6" fmla="*/ 0 h 502920"/>
                    <a:gd name="connsiteX0" fmla="*/ 0 w 342900"/>
                    <a:gd name="connsiteY0" fmla="*/ 0 h 502920"/>
                    <a:gd name="connsiteX1" fmla="*/ 342900 w 342900"/>
                    <a:gd name="connsiteY1" fmla="*/ 0 h 502920"/>
                    <a:gd name="connsiteX2" fmla="*/ 251460 w 342900"/>
                    <a:gd name="connsiteY2" fmla="*/ 259080 h 502920"/>
                    <a:gd name="connsiteX3" fmla="*/ 342900 w 342900"/>
                    <a:gd name="connsiteY3" fmla="*/ 502920 h 502920"/>
                    <a:gd name="connsiteX4" fmla="*/ 7620 w 342900"/>
                    <a:gd name="connsiteY4" fmla="*/ 502920 h 502920"/>
                    <a:gd name="connsiteX5" fmla="*/ 83820 w 342900"/>
                    <a:gd name="connsiteY5" fmla="*/ 243840 h 502920"/>
                    <a:gd name="connsiteX6" fmla="*/ 0 w 342900"/>
                    <a:gd name="connsiteY6" fmla="*/ 0 h 502920"/>
                    <a:gd name="connsiteX0" fmla="*/ 0 w 351050"/>
                    <a:gd name="connsiteY0" fmla="*/ 0 h 502920"/>
                    <a:gd name="connsiteX1" fmla="*/ 342900 w 351050"/>
                    <a:gd name="connsiteY1" fmla="*/ 0 h 502920"/>
                    <a:gd name="connsiteX2" fmla="*/ 251460 w 351050"/>
                    <a:gd name="connsiteY2" fmla="*/ 259080 h 502920"/>
                    <a:gd name="connsiteX3" fmla="*/ 342900 w 351050"/>
                    <a:gd name="connsiteY3" fmla="*/ 502920 h 502920"/>
                    <a:gd name="connsiteX4" fmla="*/ 7620 w 351050"/>
                    <a:gd name="connsiteY4" fmla="*/ 502920 h 502920"/>
                    <a:gd name="connsiteX5" fmla="*/ 83820 w 351050"/>
                    <a:gd name="connsiteY5" fmla="*/ 243840 h 502920"/>
                    <a:gd name="connsiteX6" fmla="*/ 0 w 351050"/>
                    <a:gd name="connsiteY6" fmla="*/ 0 h 502920"/>
                    <a:gd name="connsiteX0" fmla="*/ 9024 w 360074"/>
                    <a:gd name="connsiteY0" fmla="*/ 0 h 502920"/>
                    <a:gd name="connsiteX1" fmla="*/ 351924 w 360074"/>
                    <a:gd name="connsiteY1" fmla="*/ 0 h 502920"/>
                    <a:gd name="connsiteX2" fmla="*/ 260484 w 360074"/>
                    <a:gd name="connsiteY2" fmla="*/ 259080 h 502920"/>
                    <a:gd name="connsiteX3" fmla="*/ 351924 w 360074"/>
                    <a:gd name="connsiteY3" fmla="*/ 502920 h 502920"/>
                    <a:gd name="connsiteX4" fmla="*/ 16644 w 360074"/>
                    <a:gd name="connsiteY4" fmla="*/ 502920 h 502920"/>
                    <a:gd name="connsiteX5" fmla="*/ 92844 w 360074"/>
                    <a:gd name="connsiteY5" fmla="*/ 243840 h 502920"/>
                    <a:gd name="connsiteX6" fmla="*/ 9024 w 360074"/>
                    <a:gd name="connsiteY6" fmla="*/ 0 h 502920"/>
                    <a:gd name="connsiteX0" fmla="*/ 9024 w 359690"/>
                    <a:gd name="connsiteY0" fmla="*/ 0 h 502920"/>
                    <a:gd name="connsiteX1" fmla="*/ 351924 w 359690"/>
                    <a:gd name="connsiteY1" fmla="*/ 0 h 502920"/>
                    <a:gd name="connsiteX2" fmla="*/ 260484 w 359690"/>
                    <a:gd name="connsiteY2" fmla="*/ 259080 h 502920"/>
                    <a:gd name="connsiteX3" fmla="*/ 351924 w 359690"/>
                    <a:gd name="connsiteY3" fmla="*/ 502920 h 502920"/>
                    <a:gd name="connsiteX4" fmla="*/ 16644 w 359690"/>
                    <a:gd name="connsiteY4" fmla="*/ 502920 h 502920"/>
                    <a:gd name="connsiteX5" fmla="*/ 92844 w 359690"/>
                    <a:gd name="connsiteY5" fmla="*/ 243840 h 502920"/>
                    <a:gd name="connsiteX6" fmla="*/ 9024 w 359690"/>
                    <a:gd name="connsiteY6" fmla="*/ 0 h 502920"/>
                    <a:gd name="connsiteX0" fmla="*/ 9024 w 351924"/>
                    <a:gd name="connsiteY0" fmla="*/ 0 h 502920"/>
                    <a:gd name="connsiteX1" fmla="*/ 351924 w 351924"/>
                    <a:gd name="connsiteY1" fmla="*/ 0 h 502920"/>
                    <a:gd name="connsiteX2" fmla="*/ 260484 w 351924"/>
                    <a:gd name="connsiteY2" fmla="*/ 259080 h 502920"/>
                    <a:gd name="connsiteX3" fmla="*/ 351924 w 351924"/>
                    <a:gd name="connsiteY3" fmla="*/ 502920 h 502920"/>
                    <a:gd name="connsiteX4" fmla="*/ 16644 w 351924"/>
                    <a:gd name="connsiteY4" fmla="*/ 502920 h 502920"/>
                    <a:gd name="connsiteX5" fmla="*/ 92844 w 351924"/>
                    <a:gd name="connsiteY5" fmla="*/ 243840 h 502920"/>
                    <a:gd name="connsiteX6" fmla="*/ 9024 w 351924"/>
                    <a:gd name="connsiteY6" fmla="*/ 0 h 502920"/>
                    <a:gd name="connsiteX0" fmla="*/ 9024 w 351924"/>
                    <a:gd name="connsiteY0" fmla="*/ 0 h 502920"/>
                    <a:gd name="connsiteX1" fmla="*/ 351924 w 351924"/>
                    <a:gd name="connsiteY1" fmla="*/ 0 h 502920"/>
                    <a:gd name="connsiteX2" fmla="*/ 291441 w 351924"/>
                    <a:gd name="connsiteY2" fmla="*/ 249555 h 502920"/>
                    <a:gd name="connsiteX3" fmla="*/ 351924 w 351924"/>
                    <a:gd name="connsiteY3" fmla="*/ 502920 h 502920"/>
                    <a:gd name="connsiteX4" fmla="*/ 16644 w 351924"/>
                    <a:gd name="connsiteY4" fmla="*/ 502920 h 502920"/>
                    <a:gd name="connsiteX5" fmla="*/ 92844 w 351924"/>
                    <a:gd name="connsiteY5" fmla="*/ 243840 h 502920"/>
                    <a:gd name="connsiteX6" fmla="*/ 9024 w 351924"/>
                    <a:gd name="connsiteY6" fmla="*/ 0 h 502920"/>
                    <a:gd name="connsiteX0" fmla="*/ 1719 w 344619"/>
                    <a:gd name="connsiteY0" fmla="*/ 0 h 502920"/>
                    <a:gd name="connsiteX1" fmla="*/ 344619 w 344619"/>
                    <a:gd name="connsiteY1" fmla="*/ 0 h 502920"/>
                    <a:gd name="connsiteX2" fmla="*/ 284136 w 344619"/>
                    <a:gd name="connsiteY2" fmla="*/ 249555 h 502920"/>
                    <a:gd name="connsiteX3" fmla="*/ 344619 w 344619"/>
                    <a:gd name="connsiteY3" fmla="*/ 502920 h 502920"/>
                    <a:gd name="connsiteX4" fmla="*/ 9339 w 344619"/>
                    <a:gd name="connsiteY4" fmla="*/ 502920 h 502920"/>
                    <a:gd name="connsiteX5" fmla="*/ 85539 w 344619"/>
                    <a:gd name="connsiteY5" fmla="*/ 243840 h 502920"/>
                    <a:gd name="connsiteX6" fmla="*/ 1719 w 344619"/>
                    <a:gd name="connsiteY6" fmla="*/ 0 h 502920"/>
                    <a:gd name="connsiteX0" fmla="*/ 0 w 342900"/>
                    <a:gd name="connsiteY0" fmla="*/ 0 h 502920"/>
                    <a:gd name="connsiteX1" fmla="*/ 342900 w 342900"/>
                    <a:gd name="connsiteY1" fmla="*/ 0 h 502920"/>
                    <a:gd name="connsiteX2" fmla="*/ 282417 w 342900"/>
                    <a:gd name="connsiteY2" fmla="*/ 249555 h 502920"/>
                    <a:gd name="connsiteX3" fmla="*/ 342900 w 342900"/>
                    <a:gd name="connsiteY3" fmla="*/ 502920 h 502920"/>
                    <a:gd name="connsiteX4" fmla="*/ 7620 w 342900"/>
                    <a:gd name="connsiteY4" fmla="*/ 502920 h 502920"/>
                    <a:gd name="connsiteX5" fmla="*/ 83820 w 342900"/>
                    <a:gd name="connsiteY5" fmla="*/ 243840 h 502920"/>
                    <a:gd name="connsiteX6" fmla="*/ 0 w 342900"/>
                    <a:gd name="connsiteY6" fmla="*/ 0 h 502920"/>
                    <a:gd name="connsiteX0" fmla="*/ 0 w 342900"/>
                    <a:gd name="connsiteY0" fmla="*/ 0 h 502920"/>
                    <a:gd name="connsiteX1" fmla="*/ 342900 w 342900"/>
                    <a:gd name="connsiteY1" fmla="*/ 0 h 502920"/>
                    <a:gd name="connsiteX2" fmla="*/ 282417 w 342900"/>
                    <a:gd name="connsiteY2" fmla="*/ 249555 h 502920"/>
                    <a:gd name="connsiteX3" fmla="*/ 342900 w 342900"/>
                    <a:gd name="connsiteY3" fmla="*/ 502920 h 502920"/>
                    <a:gd name="connsiteX4" fmla="*/ 7620 w 342900"/>
                    <a:gd name="connsiteY4" fmla="*/ 502920 h 502920"/>
                    <a:gd name="connsiteX5" fmla="*/ 62389 w 342900"/>
                    <a:gd name="connsiteY5" fmla="*/ 253365 h 502920"/>
                    <a:gd name="connsiteX6" fmla="*/ 0 w 342900"/>
                    <a:gd name="connsiteY6" fmla="*/ 0 h 502920"/>
                    <a:gd name="connsiteX0" fmla="*/ 0 w 342900"/>
                    <a:gd name="connsiteY0" fmla="*/ 0 h 502920"/>
                    <a:gd name="connsiteX1" fmla="*/ 326231 w 342900"/>
                    <a:gd name="connsiteY1" fmla="*/ 0 h 502920"/>
                    <a:gd name="connsiteX2" fmla="*/ 282417 w 342900"/>
                    <a:gd name="connsiteY2" fmla="*/ 249555 h 502920"/>
                    <a:gd name="connsiteX3" fmla="*/ 342900 w 342900"/>
                    <a:gd name="connsiteY3" fmla="*/ 502920 h 502920"/>
                    <a:gd name="connsiteX4" fmla="*/ 7620 w 342900"/>
                    <a:gd name="connsiteY4" fmla="*/ 502920 h 502920"/>
                    <a:gd name="connsiteX5" fmla="*/ 62389 w 342900"/>
                    <a:gd name="connsiteY5" fmla="*/ 253365 h 502920"/>
                    <a:gd name="connsiteX6" fmla="*/ 0 w 342900"/>
                    <a:gd name="connsiteY6" fmla="*/ 0 h 502920"/>
                    <a:gd name="connsiteX0" fmla="*/ 16195 w 335282"/>
                    <a:gd name="connsiteY0" fmla="*/ 0 h 502920"/>
                    <a:gd name="connsiteX1" fmla="*/ 318613 w 335282"/>
                    <a:gd name="connsiteY1" fmla="*/ 0 h 502920"/>
                    <a:gd name="connsiteX2" fmla="*/ 274799 w 335282"/>
                    <a:gd name="connsiteY2" fmla="*/ 249555 h 502920"/>
                    <a:gd name="connsiteX3" fmla="*/ 335282 w 335282"/>
                    <a:gd name="connsiteY3" fmla="*/ 502920 h 502920"/>
                    <a:gd name="connsiteX4" fmla="*/ 2 w 335282"/>
                    <a:gd name="connsiteY4" fmla="*/ 502920 h 502920"/>
                    <a:gd name="connsiteX5" fmla="*/ 54771 w 335282"/>
                    <a:gd name="connsiteY5" fmla="*/ 253365 h 502920"/>
                    <a:gd name="connsiteX6" fmla="*/ 16195 w 335282"/>
                    <a:gd name="connsiteY6" fmla="*/ 0 h 50292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335282" h="502920">
                      <a:moveTo>
                        <a:pt x="16195" y="0"/>
                      </a:moveTo>
                      <a:lnTo>
                        <a:pt x="318613" y="0"/>
                      </a:lnTo>
                      <a:cubicBezTo>
                        <a:pt x="312898" y="83661"/>
                        <a:pt x="272021" y="165735"/>
                        <a:pt x="274799" y="249555"/>
                      </a:cubicBezTo>
                      <a:cubicBezTo>
                        <a:pt x="277577" y="333375"/>
                        <a:pt x="333060" y="443230"/>
                        <a:pt x="335282" y="502920"/>
                      </a:cubicBezTo>
                      <a:lnTo>
                        <a:pt x="2" y="502920"/>
                      </a:lnTo>
                      <a:cubicBezTo>
                        <a:pt x="-316" y="445453"/>
                        <a:pt x="52072" y="337185"/>
                        <a:pt x="54771" y="253365"/>
                      </a:cubicBezTo>
                      <a:cubicBezTo>
                        <a:pt x="57470" y="169545"/>
                        <a:pt x="20640" y="69215"/>
                        <a:pt x="16195" y="0"/>
                      </a:cubicBezTo>
                      <a:close/>
                    </a:path>
                  </a:pathLst>
                </a:custGeom>
                <a:solidFill>
                  <a:srgbClr val="0050A6">
                    <a:lumMod val="20000"/>
                    <a:lumOff val="80000"/>
                  </a:srgbClr>
                </a:solidFill>
                <a:ln w="6350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90000" tIns="46800" rIns="90000" bIns="46800" anchor="ctr"/>
                <a:lstStyle/>
                <a:p>
                  <a:pPr marL="266700" indent="-266700" algn="ctr" fontAlgn="auto">
                    <a:spcBef>
                      <a:spcPts val="0"/>
                    </a:spcBef>
                    <a:spcAft>
                      <a:spcPct val="100000"/>
                    </a:spcAft>
                    <a:buClr>
                      <a:srgbClr val="0050A6"/>
                    </a:buClr>
                    <a:buFont typeface="Arial" pitchFamily="34" charset="0"/>
                    <a:buChar char="&gt;"/>
                    <a:defRPr/>
                  </a:pPr>
                  <a:endParaRPr lang="de-DE" sz="2000" kern="0" dirty="0">
                    <a:solidFill>
                      <a:srgbClr val="000000"/>
                    </a:solidFill>
                    <a:latin typeface="Calibri" panose="020F0502020204030204" pitchFamily="34" charset="0"/>
                    <a:cs typeface="Arial"/>
                  </a:endParaRPr>
                </a:p>
              </p:txBody>
            </p:sp>
          </p:grpSp>
          <p:sp>
            <p:nvSpPr>
              <p:cNvPr id="58" name="Line 84"/>
              <p:cNvSpPr>
                <a:spLocks noChangeShapeType="1"/>
              </p:cNvSpPr>
              <p:nvPr>
                <p:custDataLst>
                  <p:tags r:id="rId47"/>
                </p:custDataLst>
              </p:nvPr>
            </p:nvSpPr>
            <p:spPr bwMode="gray">
              <a:xfrm rot="18900000" flipH="1">
                <a:off x="6252709" y="2512140"/>
                <a:ext cx="553437" cy="0"/>
              </a:xfrm>
              <a:prstGeom prst="line">
                <a:avLst/>
              </a:prstGeom>
              <a:noFill/>
              <a:ln w="19050">
                <a:solidFill>
                  <a:srgbClr val="FF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fontAlgn="auto">
                  <a:spcBef>
                    <a:spcPts val="0"/>
                  </a:spcBef>
                  <a:spcAft>
                    <a:spcPct val="100000"/>
                  </a:spcAft>
                  <a:buClr>
                    <a:srgbClr val="0050A6"/>
                  </a:buClr>
                  <a:buFont typeface="Arial" pitchFamily="34" charset="0"/>
                  <a:buNone/>
                  <a:defRPr/>
                </a:pPr>
                <a:endParaRPr lang="de-DE" kern="0" dirty="0">
                  <a:solidFill>
                    <a:srgbClr val="000000"/>
                  </a:solidFill>
                  <a:latin typeface="Calibri" panose="020F0502020204030204" pitchFamily="34" charset="0"/>
                  <a:cs typeface="Arial"/>
                </a:endParaRPr>
              </a:p>
            </p:txBody>
          </p:sp>
          <p:sp>
            <p:nvSpPr>
              <p:cNvPr id="59" name="Bogen 58"/>
              <p:cNvSpPr/>
              <p:nvPr>
                <p:custDataLst>
                  <p:tags r:id="rId48"/>
                </p:custDataLst>
              </p:nvPr>
            </p:nvSpPr>
            <p:spPr bwMode="auto">
              <a:xfrm flipH="1">
                <a:off x="5554963" y="2669071"/>
                <a:ext cx="1194035" cy="1254519"/>
              </a:xfrm>
              <a:prstGeom prst="arc">
                <a:avLst>
                  <a:gd name="adj1" fmla="val 11129714"/>
                  <a:gd name="adj2" fmla="val 16212601"/>
                </a:avLst>
              </a:prstGeom>
              <a:noFill/>
              <a:ln w="38100" cap="flat" cmpd="sng" algn="ctr">
                <a:solidFill>
                  <a:srgbClr val="92D050"/>
                </a:solidFill>
                <a:prstDash val="solid"/>
                <a:round/>
                <a:headEnd type="arrow" w="med" len="sm"/>
                <a:tailEnd type="arrow" w="med" len="sm"/>
              </a:ln>
              <a:effectLst/>
            </p:spPr>
            <p:txBody>
              <a:bodyPr wrap="none" lIns="90000" tIns="46800" rIns="90000" bIns="46800" anchor="ctr"/>
              <a:lstStyle/>
              <a:p>
                <a:pPr algn="ctr" fontAlgn="auto">
                  <a:spcBef>
                    <a:spcPts val="0"/>
                  </a:spcBef>
                  <a:spcAft>
                    <a:spcPct val="100000"/>
                  </a:spcAft>
                  <a:buClr>
                    <a:srgbClr val="0050A6"/>
                  </a:buClr>
                  <a:buFont typeface="Arial" pitchFamily="23" charset="0"/>
                  <a:buNone/>
                  <a:defRPr/>
                </a:pPr>
                <a:endParaRPr lang="de-DE" kern="0" dirty="0">
                  <a:solidFill>
                    <a:srgbClr val="000000"/>
                  </a:solidFill>
                  <a:latin typeface="Calibri" panose="020F0502020204030204" pitchFamily="34" charset="0"/>
                  <a:cs typeface="Arial"/>
                </a:endParaRPr>
              </a:p>
            </p:txBody>
          </p:sp>
          <p:sp>
            <p:nvSpPr>
              <p:cNvPr id="60" name="Line 84"/>
              <p:cNvSpPr>
                <a:spLocks noChangeShapeType="1"/>
              </p:cNvSpPr>
              <p:nvPr>
                <p:custDataLst>
                  <p:tags r:id="rId49"/>
                </p:custDataLst>
              </p:nvPr>
            </p:nvSpPr>
            <p:spPr bwMode="gray">
              <a:xfrm>
                <a:off x="6233105" y="2731287"/>
                <a:ext cx="1368914" cy="0"/>
              </a:xfrm>
              <a:prstGeom prst="line">
                <a:avLst/>
              </a:prstGeom>
              <a:noFill/>
              <a:ln w="19050">
                <a:solidFill>
                  <a:srgbClr val="000000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pPr fontAlgn="auto">
                  <a:spcBef>
                    <a:spcPts val="0"/>
                  </a:spcBef>
                  <a:spcAft>
                    <a:spcPct val="100000"/>
                  </a:spcAft>
                  <a:buClr>
                    <a:srgbClr val="0050A6"/>
                  </a:buClr>
                  <a:buFont typeface="Arial" pitchFamily="34" charset="0"/>
                  <a:buNone/>
                  <a:defRPr/>
                </a:pPr>
                <a:endParaRPr lang="de-DE" kern="0" dirty="0">
                  <a:solidFill>
                    <a:srgbClr val="000000"/>
                  </a:solidFill>
                  <a:latin typeface="Calibri" panose="020F0502020204030204" pitchFamily="34" charset="0"/>
                  <a:cs typeface="Arial"/>
                </a:endParaRPr>
              </a:p>
            </p:txBody>
          </p:sp>
        </p:grpSp>
        <p:grpSp>
          <p:nvGrpSpPr>
            <p:cNvPr id="11" name="Gruppieren 273"/>
            <p:cNvGrpSpPr>
              <a:grpSpLocks/>
            </p:cNvGrpSpPr>
            <p:nvPr>
              <p:custDataLst>
                <p:tags r:id="rId5"/>
              </p:custDataLst>
            </p:nvPr>
          </p:nvGrpSpPr>
          <p:grpSpPr bwMode="auto">
            <a:xfrm>
              <a:off x="3332163" y="3501889"/>
              <a:ext cx="2479675" cy="611187"/>
              <a:chOff x="3331747" y="1761835"/>
              <a:chExt cx="2480506" cy="612000"/>
            </a:xfrm>
          </p:grpSpPr>
          <p:sp>
            <p:nvSpPr>
              <p:cNvPr id="15" name="Pfeil nach rechts 274"/>
              <p:cNvSpPr>
                <a:spLocks noChangeArrowheads="1"/>
              </p:cNvSpPr>
              <p:nvPr/>
            </p:nvSpPr>
            <p:spPr bwMode="auto">
              <a:xfrm>
                <a:off x="3331996" y="1761835"/>
                <a:ext cx="2480128" cy="611667"/>
              </a:xfrm>
              <a:prstGeom prst="rightArrow">
                <a:avLst>
                  <a:gd name="adj1" fmla="val 50000"/>
                  <a:gd name="adj2" fmla="val 50007"/>
                </a:avLst>
              </a:prstGeom>
              <a:solidFill>
                <a:srgbClr val="92D05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90000" tIns="46800" rIns="90000" bIns="46800" anchor="ctr"/>
              <a:lstStyle>
                <a:lvl1pPr marL="266700" indent="-266700" eaLnBrk="0" hangingPunct="0">
                  <a:buChar char="&gt;"/>
                  <a:defRPr sz="2000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  <a:cs typeface="Arial" pitchFamily="34" charset="0"/>
                  </a:defRPr>
                </a:lvl1pPr>
                <a:lvl2pPr marL="742950" indent="-285750" eaLnBrk="0" hangingPunct="0">
                  <a:buChar char="–"/>
                  <a:defRPr sz="2000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  <a:cs typeface="Arial" pitchFamily="34" charset="0"/>
                  </a:defRPr>
                </a:lvl2pPr>
                <a:lvl3pPr marL="1143000" indent="-228600" eaLnBrk="0" hangingPunct="0">
                  <a:buChar char="•"/>
                  <a:defRPr sz="2000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  <a:cs typeface="Arial" pitchFamily="34" charset="0"/>
                  </a:defRPr>
                </a:lvl3pPr>
                <a:lvl4pPr marL="1600200" indent="-228600" eaLnBrk="0" hangingPunct="0">
                  <a:buChar char="–"/>
                  <a:defRPr sz="2000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  <a:cs typeface="Arial" pitchFamily="34" charset="0"/>
                  </a:defRPr>
                </a:lvl4pPr>
                <a:lvl5pPr marL="2057400" indent="-228600" eaLnBrk="0" hangingPunct="0">
                  <a:buChar char="•"/>
                  <a:defRPr sz="2000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Char char="•"/>
                  <a:defRPr sz="2000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Char char="•"/>
                  <a:defRPr sz="2000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Char char="•"/>
                  <a:defRPr sz="2000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Char char="•"/>
                  <a:defRPr sz="2000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  <a:cs typeface="Arial" pitchFamily="34" charset="0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ct val="100000"/>
                  </a:spcAft>
                  <a:buClr>
                    <a:srgbClr val="0050A6"/>
                  </a:buClr>
                  <a:buFont typeface="Arial" pitchFamily="34" charset="0"/>
                  <a:buChar char="&gt;"/>
                  <a:defRPr/>
                </a:pPr>
                <a:endParaRPr lang="de-DE" altLang="de-DE" kern="0" dirty="0" smtClean="0">
                  <a:solidFill>
                    <a:srgbClr val="000000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16" name="Textfeld 275"/>
              <p:cNvSpPr txBox="1">
                <a:spLocks noChangeArrowheads="1"/>
              </p:cNvSpPr>
              <p:nvPr/>
            </p:nvSpPr>
            <p:spPr bwMode="auto">
              <a:xfrm>
                <a:off x="4132790" y="1955189"/>
                <a:ext cx="788160" cy="19986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6350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lIns="36000" tIns="46800" rIns="36000" bIns="46800" anchor="ctr">
                <a:spAutoFit/>
              </a:bodyPr>
              <a:lstStyle>
                <a:lvl1pPr eaLnBrk="0" hangingPunct="0">
                  <a:buChar char="&gt;"/>
                  <a:defRPr sz="2000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  <a:cs typeface="Arial" pitchFamily="34" charset="0"/>
                  </a:defRPr>
                </a:lvl1pPr>
                <a:lvl2pPr marL="742950" indent="-285750" eaLnBrk="0" hangingPunct="0">
                  <a:buChar char="–"/>
                  <a:defRPr sz="2000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  <a:cs typeface="Arial" pitchFamily="34" charset="0"/>
                  </a:defRPr>
                </a:lvl2pPr>
                <a:lvl3pPr marL="1143000" indent="-228600" eaLnBrk="0" hangingPunct="0">
                  <a:buChar char="•"/>
                  <a:defRPr sz="2000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  <a:cs typeface="Arial" pitchFamily="34" charset="0"/>
                  </a:defRPr>
                </a:lvl3pPr>
                <a:lvl4pPr marL="1600200" indent="-228600" eaLnBrk="0" hangingPunct="0">
                  <a:buChar char="–"/>
                  <a:defRPr sz="2000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  <a:cs typeface="Arial" pitchFamily="34" charset="0"/>
                  </a:defRPr>
                </a:lvl4pPr>
                <a:lvl5pPr marL="2057400" indent="-228600" eaLnBrk="0" hangingPunct="0">
                  <a:buChar char="•"/>
                  <a:defRPr sz="2000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Char char="•"/>
                  <a:defRPr sz="2000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Char char="•"/>
                  <a:defRPr sz="2000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Char char="•"/>
                  <a:defRPr sz="2000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Char char="•"/>
                  <a:defRPr sz="2000">
                    <a:solidFill>
                      <a:schemeClr val="tx1"/>
                    </a:solidFill>
                    <a:latin typeface="Arial" pitchFamily="34" charset="0"/>
                    <a:ea typeface="MS PGothic" pitchFamily="34" charset="-128"/>
                    <a:cs typeface="Arial" pitchFamily="34" charset="0"/>
                  </a:defRPr>
                </a:lvl9pPr>
              </a:lstStyle>
              <a:p>
                <a:pPr algn="ctr" eaLnBrk="1" fontAlgn="auto" hangingPunct="1">
                  <a:spcBef>
                    <a:spcPts val="0"/>
                  </a:spcBef>
                  <a:spcAft>
                    <a:spcPct val="100000"/>
                  </a:spcAft>
                  <a:buClr>
                    <a:srgbClr val="0050A6"/>
                  </a:buClr>
                  <a:buFont typeface="Arial" pitchFamily="34" charset="0"/>
                  <a:buNone/>
                  <a:defRPr/>
                </a:pPr>
                <a:r>
                  <a:rPr lang="de-DE" altLang="de-DE" sz="1600" b="1" kern="0" dirty="0" smtClean="0">
                    <a:solidFill>
                      <a:srgbClr val="FFFFFF"/>
                    </a:solidFill>
                    <a:latin typeface="Calibri" panose="020F0502020204030204" pitchFamily="34" charset="0"/>
                  </a:rPr>
                  <a:t>Energiewende</a:t>
                </a:r>
              </a:p>
            </p:txBody>
          </p:sp>
        </p:grpSp>
        <p:cxnSp>
          <p:nvCxnSpPr>
            <p:cNvPr id="12" name="Gerade Verbindung mit Pfeil 276"/>
            <p:cNvCxnSpPr>
              <a:cxnSpLocks noChangeShapeType="1"/>
            </p:cNvCxnSpPr>
            <p:nvPr/>
          </p:nvCxnSpPr>
          <p:spPr bwMode="auto">
            <a:xfrm flipV="1">
              <a:off x="7848600" y="5727005"/>
              <a:ext cx="0" cy="215900"/>
            </a:xfrm>
            <a:prstGeom prst="straightConnector1">
              <a:avLst/>
            </a:prstGeom>
            <a:noFill/>
            <a:ln w="38100" algn="ctr">
              <a:solidFill>
                <a:srgbClr val="92D050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Gerade Verbindung mit Pfeil 277"/>
            <p:cNvCxnSpPr>
              <a:cxnSpLocks noChangeShapeType="1"/>
            </p:cNvCxnSpPr>
            <p:nvPr/>
          </p:nvCxnSpPr>
          <p:spPr bwMode="auto">
            <a:xfrm flipV="1">
              <a:off x="6894513" y="5727005"/>
              <a:ext cx="0" cy="215900"/>
            </a:xfrm>
            <a:prstGeom prst="straightConnector1">
              <a:avLst/>
            </a:prstGeom>
            <a:noFill/>
            <a:ln w="38100" algn="ctr">
              <a:solidFill>
                <a:srgbClr val="92D050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Gerade Verbindung mit Pfeil 278"/>
            <p:cNvCxnSpPr>
              <a:cxnSpLocks noChangeShapeType="1"/>
            </p:cNvCxnSpPr>
            <p:nvPr/>
          </p:nvCxnSpPr>
          <p:spPr bwMode="auto">
            <a:xfrm flipV="1">
              <a:off x="5940425" y="5727005"/>
              <a:ext cx="0" cy="215900"/>
            </a:xfrm>
            <a:prstGeom prst="straightConnector1">
              <a:avLst/>
            </a:prstGeom>
            <a:noFill/>
            <a:ln w="38100" algn="ctr">
              <a:solidFill>
                <a:srgbClr val="92D050"/>
              </a:solidFill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61" name="Titel 26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majority of the new producers are connected </a:t>
            </a:r>
            <a:br>
              <a:rPr lang="en-US" dirty="0"/>
            </a:br>
            <a:r>
              <a:rPr lang="en-US" dirty="0"/>
              <a:t>to the distribution </a:t>
            </a:r>
            <a:r>
              <a:rPr lang="en-US" dirty="0" smtClean="0"/>
              <a:t>grids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42574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Inhaltsplatzhalter 25"/>
          <p:cNvSpPr>
            <a:spLocks noGrp="1"/>
          </p:cNvSpPr>
          <p:nvPr>
            <p:ph idx="1"/>
          </p:nvPr>
        </p:nvSpPr>
        <p:spPr>
          <a:xfrm>
            <a:off x="251520" y="4005064"/>
            <a:ext cx="8640960" cy="2088000"/>
          </a:xfrm>
          <a:solidFill>
            <a:schemeClr val="bg1"/>
          </a:solidFill>
          <a:ln w="0">
            <a:noFill/>
          </a:ln>
          <a:effectLst>
            <a:glow rad="254000">
              <a:schemeClr val="accent1">
                <a:alpha val="5000"/>
              </a:schemeClr>
            </a:glow>
          </a:effectLst>
        </p:spPr>
        <p:txBody>
          <a:bodyPr/>
          <a:lstStyle/>
          <a:p>
            <a:pPr marL="0" indent="0">
              <a:buNone/>
            </a:pPr>
            <a:r>
              <a:rPr lang="de-DE" dirty="0"/>
              <a:t> </a:t>
            </a:r>
          </a:p>
        </p:txBody>
      </p:sp>
      <p:graphicFrame>
        <p:nvGraphicFramePr>
          <p:cNvPr id="4" name="Tabel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2561717"/>
              </p:ext>
            </p:extLst>
          </p:nvPr>
        </p:nvGraphicFramePr>
        <p:xfrm>
          <a:off x="251520" y="4004621"/>
          <a:ext cx="8640000" cy="2243520"/>
        </p:xfrm>
        <a:graphic>
          <a:graphicData uri="http://schemas.openxmlformats.org/drawingml/2006/table">
            <a:tbl>
              <a:tblPr>
                <a:effectLst/>
                <a:tableStyleId>{5C22544A-7EE6-4342-B048-85BDC9FD1C3A}</a:tableStyleId>
              </a:tblPr>
              <a:tblGrid>
                <a:gridCol w="540000"/>
                <a:gridCol w="3708000"/>
                <a:gridCol w="144000"/>
                <a:gridCol w="540000"/>
                <a:gridCol w="3708000"/>
              </a:tblGrid>
              <a:tr h="576000">
                <a:tc gridSpan="2">
                  <a:txBody>
                    <a:bodyPr/>
                    <a:lstStyle/>
                    <a:p>
                      <a:pPr marL="538163" marR="0" indent="0" algn="l" defTabSz="208817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2400" b="1" kern="1200" dirty="0" smtClean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The </a:t>
                      </a:r>
                      <a:r>
                        <a:rPr lang="de-DE" sz="2400" b="1" kern="1200" dirty="0" err="1" smtClean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traffic</a:t>
                      </a:r>
                      <a:r>
                        <a:rPr lang="de-DE" sz="2400" b="1" kern="1200" baseline="0" dirty="0" smtClean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 light </a:t>
                      </a:r>
                      <a:r>
                        <a:rPr lang="de-DE" sz="2400" b="1" kern="1200" baseline="0" dirty="0" err="1" smtClean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system</a:t>
                      </a:r>
                      <a:r>
                        <a:rPr lang="de-DE" sz="2400" b="1" kern="1200" baseline="0" dirty="0" smtClean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 </a:t>
                      </a:r>
                      <a:r>
                        <a:rPr lang="de-DE" sz="2400" b="1" kern="1200" baseline="0" dirty="0" err="1" smtClean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is</a:t>
                      </a:r>
                      <a:r>
                        <a:rPr lang="de-DE" sz="2400" b="1" kern="1200" baseline="0" dirty="0" smtClean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…</a:t>
                      </a:r>
                      <a:endParaRPr lang="de-DE" sz="2400" b="1" kern="1200" dirty="0" smtClean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  <a:ea typeface="MS PGothic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208817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2400" b="1" kern="1200" dirty="0" smtClean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  <a:ea typeface="MS PGothic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538163" indent="0" algn="l">
                        <a:tabLst/>
                      </a:pPr>
                      <a:r>
                        <a:rPr lang="de-DE" sz="2400" b="1" kern="1200" dirty="0" smtClean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The </a:t>
                      </a:r>
                      <a:r>
                        <a:rPr lang="de-DE" sz="2400" b="1" kern="1200" dirty="0" err="1" smtClean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traffic</a:t>
                      </a:r>
                      <a:r>
                        <a:rPr lang="de-DE" sz="2400" b="1" kern="1200" baseline="0" dirty="0" smtClean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 light </a:t>
                      </a:r>
                      <a:r>
                        <a:rPr lang="de-DE" sz="2400" b="1" kern="1200" baseline="0" dirty="0" err="1" smtClean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system</a:t>
                      </a:r>
                      <a:r>
                        <a:rPr lang="de-DE" sz="2400" b="1" kern="1200" baseline="0" dirty="0" smtClean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 </a:t>
                      </a:r>
                      <a:r>
                        <a:rPr lang="de-DE" sz="2400" b="1" kern="1200" baseline="0" dirty="0" err="1" smtClean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is</a:t>
                      </a:r>
                      <a:r>
                        <a:rPr lang="de-DE" sz="2400" b="1" kern="1200" baseline="0" dirty="0" smtClean="0">
                          <a:solidFill>
                            <a:schemeClr val="accent1"/>
                          </a:solidFill>
                          <a:effectLst/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 not…</a:t>
                      </a:r>
                      <a:endParaRPr lang="de-DE" sz="2400" b="1" kern="1200" dirty="0" smtClean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  <a:ea typeface="MS PGothic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756000">
                <a:tc>
                  <a:txBody>
                    <a:bodyPr/>
                    <a:lstStyle/>
                    <a:p>
                      <a:pPr algn="ctr"/>
                      <a:r>
                        <a:rPr lang="de-DE" sz="3200" b="1" kern="1200" dirty="0" smtClean="0">
                          <a:solidFill>
                            <a:schemeClr val="accent3"/>
                          </a:solidFill>
                          <a:effectLst/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  <a:sym typeface="Wingdings"/>
                        </a:rPr>
                        <a:t></a:t>
                      </a:r>
                      <a:endParaRPr lang="de-DE" sz="3200" b="1" kern="1200" dirty="0">
                        <a:solidFill>
                          <a:schemeClr val="accent3"/>
                        </a:solidFill>
                        <a:effectLst/>
                        <a:latin typeface="Calibri" panose="020F0502020204030204" pitchFamily="34" charset="0"/>
                        <a:ea typeface="MS PGothic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2088179" rtl="0" eaLnBrk="1" fontAlgn="auto" latinLnBrk="0" hangingPunct="1">
                        <a:lnSpc>
                          <a:spcPts val="2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="0" dirty="0" err="1" smtClean="0">
                          <a:effectLst/>
                          <a:latin typeface="Calibri" panose="020F0502020204030204" pitchFamily="34" charset="0"/>
                        </a:rPr>
                        <a:t>Indication</a:t>
                      </a:r>
                      <a:r>
                        <a:rPr lang="de-DE" sz="1800" b="0" baseline="0" dirty="0" smtClean="0">
                          <a:effectLst/>
                          <a:latin typeface="Calibri" panose="020F0502020204030204" pitchFamily="34" charset="0"/>
                        </a:rPr>
                        <a:t> of the </a:t>
                      </a:r>
                      <a:r>
                        <a:rPr lang="de-DE" sz="1800" b="0" baseline="0" dirty="0" err="1" smtClean="0">
                          <a:effectLst/>
                          <a:latin typeface="Calibri" panose="020F0502020204030204" pitchFamily="34" charset="0"/>
                        </a:rPr>
                        <a:t>actual</a:t>
                      </a:r>
                      <a:r>
                        <a:rPr lang="de-DE" sz="1800" b="0" baseline="0" dirty="0" smtClean="0"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de-DE" sz="1800" b="0" baseline="0" dirty="0" err="1" smtClean="0">
                          <a:effectLst/>
                          <a:latin typeface="Calibri" panose="020F0502020204030204" pitchFamily="34" charset="0"/>
                        </a:rPr>
                        <a:t>status</a:t>
                      </a:r>
                      <a:r>
                        <a:rPr lang="de-DE" sz="1800" b="0" baseline="0" dirty="0" smtClean="0">
                          <a:effectLst/>
                          <a:latin typeface="Calibri" panose="020F0502020204030204" pitchFamily="34" charset="0"/>
                        </a:rPr>
                        <a:t> of </a:t>
                      </a:r>
                      <a:br>
                        <a:rPr lang="de-DE" sz="1800" b="0" baseline="0" dirty="0" smtClean="0"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de-DE" sz="1800" b="0" baseline="0" dirty="0" err="1" smtClean="0">
                          <a:effectLst/>
                          <a:latin typeface="Calibri" panose="020F0502020204030204" pitchFamily="34" charset="0"/>
                        </a:rPr>
                        <a:t>grid</a:t>
                      </a:r>
                      <a:r>
                        <a:rPr lang="de-DE" sz="1800" b="0" baseline="0" dirty="0" smtClean="0">
                          <a:effectLst/>
                          <a:latin typeface="Calibri" panose="020F0502020204030204" pitchFamily="34" charset="0"/>
                        </a:rPr>
                        <a:t> &lt;-&gt; </a:t>
                      </a:r>
                      <a:r>
                        <a:rPr lang="de-DE" sz="1800" b="0" baseline="0" dirty="0" err="1" smtClean="0">
                          <a:effectLst/>
                          <a:latin typeface="Calibri" panose="020F0502020204030204" pitchFamily="34" charset="0"/>
                        </a:rPr>
                        <a:t>market</a:t>
                      </a:r>
                      <a:r>
                        <a:rPr lang="de-DE" sz="1800" b="0" baseline="0" dirty="0" smtClean="0"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de-DE" sz="1800" b="0" baseline="0" dirty="0" err="1" smtClean="0">
                          <a:effectLst/>
                          <a:latin typeface="Calibri" panose="020F0502020204030204" pitchFamily="34" charset="0"/>
                        </a:rPr>
                        <a:t>interaction</a:t>
                      </a:r>
                      <a:endParaRPr lang="de-DE" sz="1800" b="0" dirty="0" smtClean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208817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2400" b="0" kern="1200" dirty="0" smtClean="0">
                        <a:solidFill>
                          <a:schemeClr val="accent1"/>
                        </a:solidFill>
                        <a:effectLst/>
                        <a:latin typeface="Calibri" panose="020F0502020204030204" pitchFamily="34" charset="0"/>
                        <a:ea typeface="MS PGothic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de-DE" sz="3200" b="0" dirty="0" smtClean="0">
                          <a:solidFill>
                            <a:schemeClr val="accent5"/>
                          </a:solidFill>
                          <a:effectLst/>
                          <a:latin typeface="Calibri" panose="020F0502020204030204" pitchFamily="34" charset="0"/>
                          <a:sym typeface="Wingdings"/>
                        </a:rPr>
                        <a:t></a:t>
                      </a:r>
                      <a:endParaRPr lang="de-DE" sz="3200" b="0" dirty="0" smtClean="0">
                        <a:solidFill>
                          <a:schemeClr val="accent5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200"/>
                        </a:lnSpc>
                      </a:pPr>
                      <a:r>
                        <a:rPr lang="de-DE" sz="1800" b="0" kern="1200" dirty="0" err="1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Indication</a:t>
                      </a:r>
                      <a:r>
                        <a:rPr lang="de-DE" sz="18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 of the</a:t>
                      </a:r>
                      <a:r>
                        <a:rPr lang="de-DE" sz="1800" b="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 </a:t>
                      </a:r>
                      <a:r>
                        <a:rPr lang="de-DE" sz="1800" b="0" kern="1200" baseline="0" dirty="0" err="1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actual</a:t>
                      </a:r>
                      <a:r>
                        <a:rPr lang="de-DE" sz="1800" b="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 </a:t>
                      </a:r>
                      <a:r>
                        <a:rPr lang="de-DE" sz="1800" b="0" kern="1200" baseline="0" dirty="0" err="1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grid</a:t>
                      </a:r>
                      <a:r>
                        <a:rPr lang="de-DE" sz="1800" b="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 </a:t>
                      </a:r>
                      <a:r>
                        <a:rPr lang="de-DE" sz="1800" b="0" kern="1200" baseline="0" dirty="0" err="1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condition</a:t>
                      </a:r>
                      <a:r>
                        <a:rPr lang="de-DE" sz="1800" b="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 or </a:t>
                      </a:r>
                      <a:r>
                        <a:rPr lang="de-DE" sz="1800" b="0" kern="1200" baseline="0" dirty="0" err="1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available</a:t>
                      </a:r>
                      <a:r>
                        <a:rPr lang="de-DE" sz="1800" b="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 </a:t>
                      </a:r>
                      <a:r>
                        <a:rPr lang="de-DE" sz="1800" b="0" kern="1200" baseline="0" dirty="0" err="1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grid</a:t>
                      </a:r>
                      <a:r>
                        <a:rPr lang="de-DE" sz="1800" b="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 </a:t>
                      </a:r>
                      <a:r>
                        <a:rPr lang="de-DE" sz="1800" b="0" kern="1200" baseline="0" dirty="0" err="1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capacity</a:t>
                      </a:r>
                      <a:endParaRPr lang="de-DE" sz="1800" b="0" kern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MS PGothic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56000">
                <a:tc>
                  <a:txBody>
                    <a:bodyPr/>
                    <a:lstStyle/>
                    <a:p>
                      <a:pPr marL="0" marR="0" indent="0" algn="ctr" defTabSz="208817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3200" b="1" kern="1200" dirty="0" smtClean="0">
                          <a:solidFill>
                            <a:schemeClr val="accent3"/>
                          </a:solidFill>
                          <a:effectLst/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  <a:sym typeface="Wingdings"/>
                        </a:rPr>
                        <a:t></a:t>
                      </a:r>
                      <a:endParaRPr lang="de-DE" sz="3200" b="1" kern="1200" dirty="0" smtClean="0">
                        <a:solidFill>
                          <a:schemeClr val="accent3"/>
                        </a:solidFill>
                        <a:effectLst/>
                        <a:latin typeface="Calibri" panose="020F0502020204030204" pitchFamily="34" charset="0"/>
                        <a:ea typeface="MS PGothic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2088179" rtl="0" eaLnBrk="1" fontAlgn="auto" latinLnBrk="0" hangingPunct="1">
                        <a:lnSpc>
                          <a:spcPts val="2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="0" dirty="0" smtClean="0">
                          <a:effectLst/>
                          <a:latin typeface="Calibri" panose="020F0502020204030204" pitchFamily="34" charset="0"/>
                        </a:rPr>
                        <a:t>Market information of the </a:t>
                      </a:r>
                      <a:r>
                        <a:rPr lang="de-DE" sz="1800" b="0" dirty="0" err="1" smtClean="0">
                          <a:effectLst/>
                          <a:latin typeface="Calibri" panose="020F0502020204030204" pitchFamily="34" charset="0"/>
                        </a:rPr>
                        <a:t>actual</a:t>
                      </a:r>
                      <a:r>
                        <a:rPr lang="de-DE" sz="1800" b="0" baseline="0" dirty="0" smtClean="0"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de-DE" sz="1800" b="0" baseline="0" dirty="0" err="1" smtClean="0">
                          <a:effectLst/>
                          <a:latin typeface="Calibri" panose="020F0502020204030204" pitchFamily="34" charset="0"/>
                        </a:rPr>
                        <a:t>usage</a:t>
                      </a:r>
                      <a:r>
                        <a:rPr lang="de-DE" sz="1800" b="0" baseline="0" dirty="0" smtClean="0">
                          <a:effectLst/>
                          <a:latin typeface="Calibri" panose="020F0502020204030204" pitchFamily="34" charset="0"/>
                        </a:rPr>
                        <a:t> of </a:t>
                      </a:r>
                      <a:r>
                        <a:rPr lang="de-DE" sz="1800" b="0" baseline="0" dirty="0" err="1" smtClean="0">
                          <a:effectLst/>
                          <a:latin typeface="Calibri" panose="020F0502020204030204" pitchFamily="34" charset="0"/>
                        </a:rPr>
                        <a:t>flexibility</a:t>
                      </a:r>
                      <a:r>
                        <a:rPr lang="de-DE" sz="1800" b="0" baseline="0" dirty="0" smtClean="0"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de-DE" sz="1800" b="0" baseline="0" dirty="0" err="1" smtClean="0">
                          <a:effectLst/>
                          <a:latin typeface="Calibri" panose="020F0502020204030204" pitchFamily="34" charset="0"/>
                        </a:rPr>
                        <a:t>through</a:t>
                      </a:r>
                      <a:r>
                        <a:rPr lang="de-DE" sz="1800" b="0" baseline="0" dirty="0" smtClean="0">
                          <a:effectLst/>
                          <a:latin typeface="Calibri" panose="020F0502020204030204" pitchFamily="34" charset="0"/>
                        </a:rPr>
                        <a:t> DSOs</a:t>
                      </a:r>
                      <a:endParaRPr lang="de-DE" sz="1800" b="0" dirty="0" smtClean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2088179" rtl="0" eaLnBrk="1" fontAlgn="auto" latinLnBrk="0" hangingPunct="1">
                        <a:lnSpc>
                          <a:spcPts val="2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2000" b="0" dirty="0" smtClean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208817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3200" b="0" dirty="0" smtClean="0">
                          <a:solidFill>
                            <a:schemeClr val="accent5"/>
                          </a:solidFill>
                          <a:effectLst/>
                          <a:latin typeface="Calibri" panose="020F0502020204030204" pitchFamily="34" charset="0"/>
                          <a:sym typeface="Wingdings"/>
                        </a:rPr>
                        <a:t></a:t>
                      </a:r>
                      <a:endParaRPr lang="de-DE" sz="3200" b="0" dirty="0" smtClean="0">
                        <a:solidFill>
                          <a:schemeClr val="accent5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2200"/>
                        </a:lnSpc>
                      </a:pPr>
                      <a:r>
                        <a:rPr lang="de-DE" sz="1800" b="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Information</a:t>
                      </a:r>
                      <a:r>
                        <a:rPr lang="de-DE" sz="1800" b="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 on the </a:t>
                      </a:r>
                      <a:r>
                        <a:rPr lang="de-DE" sz="1800" b="0" kern="1200" baseline="0" dirty="0" err="1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acutal</a:t>
                      </a:r>
                      <a:r>
                        <a:rPr lang="de-DE" sz="1800" b="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 </a:t>
                      </a:r>
                      <a:r>
                        <a:rPr lang="de-DE" sz="1800" b="0" kern="1200" baseline="0" dirty="0" err="1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grid</a:t>
                      </a:r>
                      <a:r>
                        <a:rPr lang="de-DE" sz="1800" b="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 </a:t>
                      </a:r>
                      <a:r>
                        <a:rPr lang="de-DE" sz="1800" b="0" kern="1200" baseline="0" dirty="0" err="1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stability</a:t>
                      </a:r>
                      <a:r>
                        <a:rPr lang="de-DE" sz="1800" b="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 and </a:t>
                      </a:r>
                      <a:r>
                        <a:rPr lang="de-DE" sz="1800" b="0" kern="1200" baseline="0" dirty="0" err="1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security</a:t>
                      </a:r>
                      <a:r>
                        <a:rPr lang="de-DE" sz="1800" b="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 of </a:t>
                      </a:r>
                      <a:r>
                        <a:rPr lang="de-DE" sz="1800" b="0" kern="1200" baseline="0" dirty="0" err="1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MS PGothic" pitchFamily="34" charset="-128"/>
                          <a:cs typeface="+mn-cs"/>
                        </a:rPr>
                        <a:t>supply</a:t>
                      </a:r>
                      <a:endParaRPr lang="de-DE" sz="1800" b="0" kern="120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MS PGothic" pitchFamily="34" charset="-128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5" name="Titel 2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raffic light </a:t>
            </a:r>
            <a:r>
              <a:rPr lang="de-DE" dirty="0" err="1" smtClean="0"/>
              <a:t>concepts</a:t>
            </a:r>
            <a:r>
              <a:rPr lang="de-DE" dirty="0" smtClean="0"/>
              <a:t> </a:t>
            </a:r>
            <a:r>
              <a:rPr lang="de-DE" dirty="0" err="1" smtClean="0"/>
              <a:t>enable</a:t>
            </a:r>
            <a:r>
              <a:rPr lang="de-DE" dirty="0" smtClean="0"/>
              <a:t> </a:t>
            </a:r>
            <a:r>
              <a:rPr lang="de-DE" dirty="0" err="1" smtClean="0"/>
              <a:t>synergies</a:t>
            </a:r>
            <a:r>
              <a:rPr lang="de-DE" dirty="0" smtClean="0"/>
              <a:t> </a:t>
            </a:r>
            <a:r>
              <a:rPr lang="de-DE" dirty="0" err="1" smtClean="0"/>
              <a:t>between</a:t>
            </a:r>
            <a:r>
              <a:rPr lang="de-DE" dirty="0" smtClean="0"/>
              <a:t> a </a:t>
            </a:r>
            <a:r>
              <a:rPr lang="de-DE" dirty="0" err="1" smtClean="0"/>
              <a:t>market</a:t>
            </a:r>
            <a:r>
              <a:rPr lang="de-DE" dirty="0" smtClean="0"/>
              <a:t>- and </a:t>
            </a:r>
            <a:r>
              <a:rPr lang="de-DE" dirty="0" err="1" smtClean="0"/>
              <a:t>grid-driven</a:t>
            </a:r>
            <a:r>
              <a:rPr lang="de-DE" dirty="0" smtClean="0"/>
              <a:t> </a:t>
            </a:r>
            <a:r>
              <a:rPr lang="de-DE" dirty="0" err="1" smtClean="0"/>
              <a:t>usage</a:t>
            </a:r>
            <a:r>
              <a:rPr lang="de-DE" dirty="0" smtClean="0"/>
              <a:t> of </a:t>
            </a:r>
            <a:r>
              <a:rPr lang="de-DE" dirty="0" err="1" smtClean="0"/>
              <a:t>flexibility</a:t>
            </a:r>
            <a:endParaRPr lang="de-DE" dirty="0"/>
          </a:p>
        </p:txBody>
      </p:sp>
      <p:sp>
        <p:nvSpPr>
          <p:cNvPr id="5" name="Textfeld 4"/>
          <p:cNvSpPr txBox="1"/>
          <p:nvPr/>
        </p:nvSpPr>
        <p:spPr>
          <a:xfrm>
            <a:off x="4644068" y="4041128"/>
            <a:ext cx="540000" cy="540000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DE" sz="8000" dirty="0" smtClean="0">
                <a:solidFill>
                  <a:schemeClr val="accent5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sym typeface="Wingdings"/>
              </a:rPr>
              <a:t></a:t>
            </a:r>
            <a:endParaRPr lang="de-DE" sz="8000" dirty="0" smtClean="0">
              <a:solidFill>
                <a:schemeClr val="accent5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287524" y="4041068"/>
            <a:ext cx="540000" cy="540000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0" tIns="0" rIns="0" bIns="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de-DE" sz="7200" dirty="0" smtClean="0">
                <a:solidFill>
                  <a:schemeClr val="accent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sym typeface="Wingdings"/>
              </a:rPr>
              <a:t></a:t>
            </a:r>
            <a:endParaRPr lang="de-DE" sz="7200" dirty="0" smtClean="0">
              <a:solidFill>
                <a:schemeClr val="accent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</a:endParaRPr>
          </a:p>
        </p:txBody>
      </p:sp>
      <p:sp>
        <p:nvSpPr>
          <p:cNvPr id="7" name="Rechteck 6"/>
          <p:cNvSpPr/>
          <p:nvPr/>
        </p:nvSpPr>
        <p:spPr bwMode="auto">
          <a:xfrm rot="10800000" flipH="1" flipV="1">
            <a:off x="4716480" y="1268761"/>
            <a:ext cx="4176000" cy="2448000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254000">
              <a:schemeClr val="accent1">
                <a:alpha val="5000"/>
              </a:schemeClr>
            </a:glow>
          </a:effectLst>
        </p:spPr>
        <p:txBody>
          <a:bodyPr vert="horz" wrap="square" lIns="0" tIns="36000" rIns="0" bIns="0" numCol="1" rtlCol="0" anchor="t" anchorCtr="0" compatLnSpc="1">
            <a:prstTxWarp prst="textNoShape">
              <a:avLst/>
            </a:prstTxWarp>
          </a:bodyPr>
          <a:lstStyle/>
          <a:p>
            <a:pPr marL="177800">
              <a:spcBef>
                <a:spcPts val="3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de-DE" sz="2400" b="1" dirty="0" smtClean="0">
                <a:solidFill>
                  <a:schemeClr val="accent1"/>
                </a:solidFill>
                <a:latin typeface="Calibri" panose="020F0502020204030204" pitchFamily="34" charset="0"/>
              </a:rPr>
              <a:t>Goals of the </a:t>
            </a:r>
            <a:r>
              <a:rPr lang="de-DE" sz="2400" b="1" dirty="0" err="1" smtClean="0">
                <a:solidFill>
                  <a:schemeClr val="accent1"/>
                </a:solidFill>
                <a:latin typeface="Calibri" panose="020F0502020204030204" pitchFamily="34" charset="0"/>
              </a:rPr>
              <a:t>traffic</a:t>
            </a:r>
            <a:r>
              <a:rPr lang="de-DE" sz="2400" b="1" dirty="0" smtClean="0">
                <a:solidFill>
                  <a:schemeClr val="accent1"/>
                </a:solidFill>
                <a:latin typeface="Calibri" panose="020F0502020204030204" pitchFamily="34" charset="0"/>
              </a:rPr>
              <a:t> light </a:t>
            </a:r>
            <a:r>
              <a:rPr lang="de-DE" sz="2400" b="1" dirty="0" err="1" smtClean="0">
                <a:solidFill>
                  <a:schemeClr val="accent1"/>
                </a:solidFill>
                <a:latin typeface="Calibri" panose="020F0502020204030204" pitchFamily="34" charset="0"/>
              </a:rPr>
              <a:t>system</a:t>
            </a:r>
            <a:endParaRPr lang="de-DE" sz="2400" b="1" dirty="0">
              <a:solidFill>
                <a:schemeClr val="accent1"/>
              </a:solidFill>
              <a:latin typeface="Calibri" panose="020F0502020204030204" pitchFamily="34" charset="0"/>
            </a:endParaRPr>
          </a:p>
          <a:p>
            <a:pPr marL="449263" indent="-271463">
              <a:lnSpc>
                <a:spcPts val="22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de-DE" dirty="0" smtClean="0">
                <a:latin typeface="Calibri" panose="020F0502020204030204" pitchFamily="34" charset="0"/>
              </a:rPr>
              <a:t>Open up </a:t>
            </a:r>
            <a:r>
              <a:rPr lang="de-DE" dirty="0" err="1" smtClean="0">
                <a:latin typeface="Calibri" panose="020F0502020204030204" pitchFamily="34" charset="0"/>
              </a:rPr>
              <a:t>flexibility</a:t>
            </a:r>
            <a:endParaRPr lang="de-DE" dirty="0">
              <a:latin typeface="Calibri" panose="020F0502020204030204" pitchFamily="34" charset="0"/>
            </a:endParaRPr>
          </a:p>
          <a:p>
            <a:pPr marL="449263" indent="-271463">
              <a:lnSpc>
                <a:spcPts val="22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de-DE" dirty="0" err="1" smtClean="0">
                <a:latin typeface="Calibri" panose="020F0502020204030204" pitchFamily="34" charset="0"/>
              </a:rPr>
              <a:t>Resolving</a:t>
            </a:r>
            <a:r>
              <a:rPr lang="de-DE" dirty="0" smtClean="0">
                <a:latin typeface="Calibri" panose="020F0502020204030204" pitchFamily="34" charset="0"/>
              </a:rPr>
              <a:t> </a:t>
            </a:r>
            <a:r>
              <a:rPr lang="de-DE" dirty="0" err="1" smtClean="0">
                <a:latin typeface="Calibri" panose="020F0502020204030204" pitchFamily="34" charset="0"/>
              </a:rPr>
              <a:t>grid</a:t>
            </a:r>
            <a:r>
              <a:rPr lang="de-DE" dirty="0" smtClean="0">
                <a:latin typeface="Calibri" panose="020F0502020204030204" pitchFamily="34" charset="0"/>
              </a:rPr>
              <a:t> </a:t>
            </a:r>
            <a:r>
              <a:rPr lang="de-DE" dirty="0" err="1" smtClean="0">
                <a:latin typeface="Calibri" panose="020F0502020204030204" pitchFamily="34" charset="0"/>
              </a:rPr>
              <a:t>congestions</a:t>
            </a:r>
            <a:endParaRPr lang="de-DE" dirty="0">
              <a:latin typeface="Calibri" panose="020F0502020204030204" pitchFamily="34" charset="0"/>
            </a:endParaRPr>
          </a:p>
          <a:p>
            <a:pPr marL="449263" indent="-271463">
              <a:lnSpc>
                <a:spcPts val="22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en-US" dirty="0">
                <a:latin typeface="Calibri" panose="020F0502020204030204" pitchFamily="34" charset="0"/>
              </a:rPr>
              <a:t>Expand </a:t>
            </a:r>
            <a:r>
              <a:rPr lang="en-US" dirty="0" smtClean="0">
                <a:latin typeface="Calibri" panose="020F0502020204030204" pitchFamily="34" charset="0"/>
              </a:rPr>
              <a:t>energy grids at </a:t>
            </a:r>
            <a:r>
              <a:rPr lang="en-US" dirty="0">
                <a:latin typeface="Calibri" panose="020F0502020204030204" pitchFamily="34" charset="0"/>
              </a:rPr>
              <a:t>optimal (system) costs in the long term</a:t>
            </a:r>
          </a:p>
          <a:p>
            <a:pPr marL="449263" indent="-271463">
              <a:lnSpc>
                <a:spcPts val="22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en-US" dirty="0">
                <a:latin typeface="Calibri" panose="020F0502020204030204" pitchFamily="34" charset="0"/>
              </a:rPr>
              <a:t>Enhancing interaction of grid &amp; market </a:t>
            </a:r>
            <a:endParaRPr lang="de-DE" dirty="0">
              <a:latin typeface="Calibri" panose="020F0502020204030204" pitchFamily="34" charset="0"/>
            </a:endParaRPr>
          </a:p>
        </p:txBody>
      </p:sp>
      <p:sp>
        <p:nvSpPr>
          <p:cNvPr id="8" name="Rechteck 7"/>
          <p:cNvSpPr/>
          <p:nvPr/>
        </p:nvSpPr>
        <p:spPr bwMode="auto">
          <a:xfrm rot="10800000" flipH="1" flipV="1">
            <a:off x="251521" y="1268760"/>
            <a:ext cx="4176000" cy="2448000"/>
          </a:xfrm>
          <a:prstGeom prst="rect">
            <a:avLst/>
          </a:prstGeom>
          <a:solidFill>
            <a:schemeClr val="bg1"/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glow rad="254000">
              <a:schemeClr val="accent1">
                <a:alpha val="5000"/>
              </a:schemeClr>
            </a:glow>
          </a:effectLst>
        </p:spPr>
        <p:txBody>
          <a:bodyPr vert="horz" wrap="square" lIns="0" tIns="36000" rIns="0" bIns="0" numCol="1" rtlCol="0" anchor="t" anchorCtr="0" compatLnSpc="1">
            <a:prstTxWarp prst="textNoShape">
              <a:avLst/>
            </a:prstTxWarp>
          </a:bodyPr>
          <a:lstStyle/>
          <a:p>
            <a:pPr marL="177800">
              <a:lnSpc>
                <a:spcPct val="105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</a:pPr>
            <a:r>
              <a:rPr lang="de-DE" sz="2400" b="1" dirty="0" smtClean="0">
                <a:solidFill>
                  <a:schemeClr val="accent1"/>
                </a:solidFill>
                <a:latin typeface="Calibri" panose="020F0502020204030204" pitchFamily="34" charset="0"/>
              </a:rPr>
              <a:t>Drivers</a:t>
            </a:r>
            <a:endParaRPr lang="de-DE" sz="2400" b="1" dirty="0">
              <a:solidFill>
                <a:schemeClr val="accent1"/>
              </a:solidFill>
              <a:latin typeface="Calibri" panose="020F0502020204030204" pitchFamily="34" charset="0"/>
            </a:endParaRPr>
          </a:p>
        </p:txBody>
      </p:sp>
      <p:grpSp>
        <p:nvGrpSpPr>
          <p:cNvPr id="24" name="Gruppieren 23"/>
          <p:cNvGrpSpPr/>
          <p:nvPr/>
        </p:nvGrpSpPr>
        <p:grpSpPr>
          <a:xfrm>
            <a:off x="287988" y="1305085"/>
            <a:ext cx="4104000" cy="2376000"/>
            <a:chOff x="287988" y="1305085"/>
            <a:chExt cx="4176000" cy="2447950"/>
          </a:xfrm>
        </p:grpSpPr>
        <p:sp>
          <p:nvSpPr>
            <p:cNvPr id="9" name="Form 8"/>
            <p:cNvSpPr/>
            <p:nvPr/>
          </p:nvSpPr>
          <p:spPr>
            <a:xfrm>
              <a:off x="287988" y="1305085"/>
              <a:ext cx="4176000" cy="2292279"/>
            </a:xfrm>
            <a:prstGeom prst="swooshArrow">
              <a:avLst>
                <a:gd name="adj1" fmla="val 19154"/>
                <a:gd name="adj2" fmla="val 28247"/>
              </a:avLst>
            </a:prstGeom>
            <a:solidFill>
              <a:schemeClr val="accent3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0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2">
              <a:schemeClr val="accent1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0" name="Ellipse 9"/>
            <p:cNvSpPr/>
            <p:nvPr/>
          </p:nvSpPr>
          <p:spPr bwMode="auto">
            <a:xfrm>
              <a:off x="951333" y="2686190"/>
              <a:ext cx="165934" cy="176329"/>
            </a:xfrm>
            <a:prstGeom prst="ellipse">
              <a:avLst/>
            </a:prstGeom>
            <a:solidFill>
              <a:schemeClr val="accent1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266700" marR="0" indent="-26670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100000"/>
                </a:spcAft>
                <a:buClr>
                  <a:schemeClr val="accent1"/>
                </a:buClr>
                <a:buSzTx/>
                <a:buFont typeface="Arial" pitchFamily="34" charset="0"/>
                <a:buChar char="&gt;"/>
                <a:tabLst/>
              </a:pPr>
              <a:endParaRPr kumimoji="0" lang="de-DE" sz="16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23" charset="0"/>
              </a:endParaRPr>
            </a:p>
          </p:txBody>
        </p:sp>
        <p:sp>
          <p:nvSpPr>
            <p:cNvPr id="11" name="Rechteck 10"/>
            <p:cNvSpPr/>
            <p:nvPr/>
          </p:nvSpPr>
          <p:spPr bwMode="auto">
            <a:xfrm rot="10800000" flipH="1" flipV="1">
              <a:off x="370486" y="3537035"/>
              <a:ext cx="4010066" cy="216000"/>
            </a:xfrm>
            <a:prstGeom prst="rect">
              <a:avLst/>
            </a:prstGeom>
            <a:noFill/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3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</a:pPr>
              <a:r>
                <a:rPr lang="de-DE" b="1" cap="small" dirty="0" err="1" smtClean="0">
                  <a:solidFill>
                    <a:schemeClr val="accent1"/>
                  </a:solidFill>
                  <a:latin typeface="Calibri" panose="020F0502020204030204" pitchFamily="34" charset="0"/>
                </a:rPr>
                <a:t>today</a:t>
              </a:r>
              <a:endParaRPr lang="de-DE" b="1" cap="small" dirty="0">
                <a:solidFill>
                  <a:schemeClr val="accent1"/>
                </a:solidFill>
                <a:latin typeface="Calibri" panose="020F0502020204030204" pitchFamily="34" charset="0"/>
              </a:endParaRPr>
            </a:p>
            <a:p>
              <a:pPr algn="ctr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</a:pPr>
              <a:r>
                <a:rPr lang="de-DE" b="1" cap="small" dirty="0" err="1" smtClean="0">
                  <a:solidFill>
                    <a:schemeClr val="accent1"/>
                  </a:solidFill>
                  <a:latin typeface="Calibri" panose="020F0502020204030204" pitchFamily="34" charset="0"/>
                </a:rPr>
                <a:t>tomorrow</a:t>
              </a:r>
              <a:endParaRPr lang="de-DE" b="1" cap="small" dirty="0">
                <a:solidFill>
                  <a:schemeClr val="accent1"/>
                </a:solidFill>
                <a:latin typeface="Calibri" panose="020F0502020204030204" pitchFamily="34" charset="0"/>
              </a:endParaRPr>
            </a:p>
            <a:p>
              <a:pPr algn="ctr"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</a:pPr>
              <a:r>
                <a:rPr lang="de-DE" b="1" cap="small" dirty="0" err="1" smtClean="0">
                  <a:solidFill>
                    <a:schemeClr val="accent1"/>
                  </a:solidFill>
                  <a:latin typeface="Calibri" panose="020F0502020204030204" pitchFamily="34" charset="0"/>
                </a:rPr>
                <a:t>prospective</a:t>
              </a:r>
              <a:endParaRPr lang="de-DE" b="1" cap="small" dirty="0" smtClean="0">
                <a:solidFill>
                  <a:schemeClr val="accent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2" name="Ellipse 11"/>
            <p:cNvSpPr/>
            <p:nvPr/>
          </p:nvSpPr>
          <p:spPr bwMode="auto">
            <a:xfrm>
              <a:off x="2253758" y="1980808"/>
              <a:ext cx="248901" cy="264494"/>
            </a:xfrm>
            <a:prstGeom prst="ellipse">
              <a:avLst/>
            </a:prstGeom>
            <a:solidFill>
              <a:schemeClr val="accent1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266700" marR="0" indent="-26670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100000"/>
                </a:spcAft>
                <a:buClr>
                  <a:schemeClr val="accent1"/>
                </a:buClr>
                <a:buSzTx/>
                <a:buFont typeface="Arial" pitchFamily="34" charset="0"/>
                <a:buChar char="&gt;"/>
                <a:tabLst/>
              </a:pPr>
              <a:endParaRPr kumimoji="0" lang="de-DE" sz="16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23" charset="0"/>
              </a:endParaRPr>
            </a:p>
          </p:txBody>
        </p:sp>
        <p:sp>
          <p:nvSpPr>
            <p:cNvPr id="13" name="Ellipse 12"/>
            <p:cNvSpPr/>
            <p:nvPr/>
          </p:nvSpPr>
          <p:spPr bwMode="auto">
            <a:xfrm>
              <a:off x="3523592" y="1657469"/>
              <a:ext cx="331868" cy="352658"/>
            </a:xfrm>
            <a:prstGeom prst="ellipse">
              <a:avLst/>
            </a:prstGeom>
            <a:solidFill>
              <a:schemeClr val="accent1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266700" marR="0" indent="-26670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100000"/>
                </a:spcAft>
                <a:buClr>
                  <a:schemeClr val="accent1"/>
                </a:buClr>
                <a:buSzTx/>
                <a:buFont typeface="Arial" pitchFamily="34" charset="0"/>
                <a:buChar char="&gt;"/>
                <a:tabLst/>
              </a:pPr>
              <a:endParaRPr kumimoji="0" lang="de-DE" sz="16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23" charset="0"/>
              </a:endParaRPr>
            </a:p>
          </p:txBody>
        </p:sp>
        <p:sp>
          <p:nvSpPr>
            <p:cNvPr id="14" name="Rechteck 13"/>
            <p:cNvSpPr/>
            <p:nvPr/>
          </p:nvSpPr>
          <p:spPr bwMode="auto">
            <a:xfrm rot="10800000" flipH="1" flipV="1">
              <a:off x="342841" y="2980124"/>
              <a:ext cx="1382781" cy="352658"/>
            </a:xfrm>
            <a:prstGeom prst="rect">
              <a:avLst/>
            </a:prstGeom>
            <a:noFill/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</a:pPr>
              <a:r>
                <a:rPr lang="de-DE" sz="1400" b="1" cap="all" dirty="0" err="1" smtClean="0">
                  <a:solidFill>
                    <a:schemeClr val="accent1"/>
                  </a:solidFill>
                  <a:effectLst>
                    <a:glow rad="127000">
                      <a:schemeClr val="bg1">
                        <a:alpha val="75000"/>
                      </a:schemeClr>
                    </a:glow>
                  </a:effectLst>
                  <a:latin typeface="Calibri" panose="020F0502020204030204" pitchFamily="34" charset="0"/>
                </a:rPr>
                <a:t>Fluctuating</a:t>
              </a:r>
              <a:r>
                <a:rPr lang="de-DE" sz="1400" b="1" cap="all" dirty="0" smtClean="0">
                  <a:solidFill>
                    <a:schemeClr val="accent1"/>
                  </a:solidFill>
                  <a:effectLst>
                    <a:glow rad="127000">
                      <a:schemeClr val="bg1">
                        <a:alpha val="75000"/>
                      </a:schemeClr>
                    </a:glow>
                  </a:effectLst>
                  <a:latin typeface="Calibri" panose="020F0502020204030204" pitchFamily="34" charset="0"/>
                </a:rPr>
                <a:t> </a:t>
              </a:r>
              <a:br>
                <a:rPr lang="de-DE" sz="1400" b="1" cap="all" dirty="0" smtClean="0">
                  <a:solidFill>
                    <a:schemeClr val="accent1"/>
                  </a:solidFill>
                  <a:effectLst>
                    <a:glow rad="127000">
                      <a:schemeClr val="bg1">
                        <a:alpha val="75000"/>
                      </a:schemeClr>
                    </a:glow>
                  </a:effectLst>
                  <a:latin typeface="Calibri" panose="020F0502020204030204" pitchFamily="34" charset="0"/>
                </a:rPr>
              </a:br>
              <a:r>
                <a:rPr lang="de-DE" sz="1400" b="1" cap="all" dirty="0" smtClean="0">
                  <a:solidFill>
                    <a:schemeClr val="accent1"/>
                  </a:solidFill>
                  <a:effectLst>
                    <a:glow rad="127000">
                      <a:schemeClr val="bg1">
                        <a:alpha val="75000"/>
                      </a:schemeClr>
                    </a:glow>
                  </a:effectLst>
                  <a:latin typeface="Calibri" panose="020F0502020204030204" pitchFamily="34" charset="0"/>
                </a:rPr>
                <a:t>Feed-In</a:t>
              </a:r>
            </a:p>
          </p:txBody>
        </p:sp>
        <p:sp>
          <p:nvSpPr>
            <p:cNvPr id="15" name="Rechteck 14"/>
            <p:cNvSpPr/>
            <p:nvPr/>
          </p:nvSpPr>
          <p:spPr bwMode="auto">
            <a:xfrm rot="10800000" flipH="1" flipV="1">
              <a:off x="1642801" y="2333512"/>
              <a:ext cx="1521060" cy="352658"/>
            </a:xfrm>
            <a:prstGeom prst="rect">
              <a:avLst/>
            </a:prstGeom>
            <a:noFill/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</a:pPr>
              <a:r>
                <a:rPr lang="de-DE" sz="1400" b="1" cap="all" dirty="0" smtClean="0">
                  <a:solidFill>
                    <a:schemeClr val="accent1"/>
                  </a:solidFill>
                  <a:effectLst>
                    <a:glow rad="127000">
                      <a:schemeClr val="bg1">
                        <a:alpha val="75000"/>
                      </a:schemeClr>
                    </a:glow>
                  </a:effectLst>
                  <a:latin typeface="Calibri" panose="020F0502020204030204" pitchFamily="34" charset="0"/>
                </a:rPr>
                <a:t>Higher </a:t>
              </a:r>
              <a:br>
                <a:rPr lang="de-DE" sz="1400" b="1" cap="all" dirty="0" smtClean="0">
                  <a:solidFill>
                    <a:schemeClr val="accent1"/>
                  </a:solidFill>
                  <a:effectLst>
                    <a:glow rad="127000">
                      <a:schemeClr val="bg1">
                        <a:alpha val="75000"/>
                      </a:schemeClr>
                    </a:glow>
                  </a:effectLst>
                  <a:latin typeface="Calibri" panose="020F0502020204030204" pitchFamily="34" charset="0"/>
                </a:rPr>
              </a:br>
              <a:r>
                <a:rPr lang="de-DE" sz="1400" b="1" cap="all" dirty="0" err="1">
                  <a:solidFill>
                    <a:schemeClr val="accent1"/>
                  </a:solidFill>
                  <a:effectLst>
                    <a:glow rad="127000">
                      <a:schemeClr val="bg1">
                        <a:alpha val="75000"/>
                      </a:schemeClr>
                    </a:glow>
                  </a:effectLst>
                  <a:latin typeface="Calibri" panose="020F0502020204030204" pitchFamily="34" charset="0"/>
                </a:rPr>
                <a:t>coincidence</a:t>
              </a:r>
              <a:r>
                <a:rPr lang="de-DE" sz="1400" b="1" cap="all" dirty="0">
                  <a:solidFill>
                    <a:schemeClr val="accent1"/>
                  </a:solidFill>
                  <a:effectLst>
                    <a:glow rad="127000">
                      <a:schemeClr val="bg1">
                        <a:alpha val="75000"/>
                      </a:schemeClr>
                    </a:glow>
                  </a:effectLst>
                  <a:latin typeface="Calibri" panose="020F0502020204030204" pitchFamily="34" charset="0"/>
                </a:rPr>
                <a:t> </a:t>
              </a:r>
            </a:p>
          </p:txBody>
        </p:sp>
        <p:sp>
          <p:nvSpPr>
            <p:cNvPr id="16" name="Rechteck 15"/>
            <p:cNvSpPr/>
            <p:nvPr/>
          </p:nvSpPr>
          <p:spPr bwMode="auto">
            <a:xfrm rot="10800000" flipH="1" flipV="1">
              <a:off x="2879988" y="2068972"/>
              <a:ext cx="1584000" cy="205717"/>
            </a:xfrm>
            <a:prstGeom prst="rect">
              <a:avLst/>
            </a:prstGeom>
            <a:noFill/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accent1"/>
                </a:buClr>
              </a:pPr>
              <a:r>
                <a:rPr lang="de-DE" sz="1400" b="1" cap="all" dirty="0" smtClean="0">
                  <a:solidFill>
                    <a:schemeClr val="accent1"/>
                  </a:solidFill>
                  <a:effectLst>
                    <a:glow rad="127000">
                      <a:schemeClr val="bg1">
                        <a:alpha val="75000"/>
                      </a:schemeClr>
                    </a:glow>
                  </a:effectLst>
                  <a:latin typeface="Calibri" panose="020F0502020204030204" pitchFamily="34" charset="0"/>
                </a:rPr>
                <a:t>More </a:t>
              </a:r>
              <a:r>
                <a:rPr lang="de-DE" sz="1400" b="1" cap="all" dirty="0" err="1" smtClean="0">
                  <a:solidFill>
                    <a:schemeClr val="accent1"/>
                  </a:solidFill>
                  <a:effectLst>
                    <a:glow rad="127000">
                      <a:schemeClr val="bg1">
                        <a:alpha val="75000"/>
                      </a:schemeClr>
                    </a:glow>
                  </a:effectLst>
                  <a:latin typeface="Calibri" panose="020F0502020204030204" pitchFamily="34" charset="0"/>
                </a:rPr>
                <a:t>consumption</a:t>
              </a:r>
              <a:endParaRPr lang="de-DE" sz="1400" b="1" cap="all" dirty="0">
                <a:solidFill>
                  <a:schemeClr val="accent1"/>
                </a:solidFill>
                <a:effectLst>
                  <a:glow rad="127000">
                    <a:schemeClr val="bg1">
                      <a:alpha val="75000"/>
                    </a:schemeClr>
                  </a:glow>
                </a:effectLst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93627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Inhaltsplatzhalter 9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A valuable flexibility concept needs to incorporate grid and market interests in a common manner</a:t>
            </a:r>
            <a:br>
              <a:rPr lang="en-GB" dirty="0" smtClean="0"/>
            </a:br>
            <a:endParaRPr lang="en-GB" dirty="0"/>
          </a:p>
        </p:txBody>
      </p:sp>
      <p:sp>
        <p:nvSpPr>
          <p:cNvPr id="5" name="Gleichschenkliges Dreieck 4"/>
          <p:cNvSpPr/>
          <p:nvPr/>
        </p:nvSpPr>
        <p:spPr bwMode="auto">
          <a:xfrm rot="10800000">
            <a:off x="1692320" y="1809259"/>
            <a:ext cx="5760000" cy="3960000"/>
          </a:xfrm>
          <a:prstGeom prst="triangle">
            <a:avLst/>
          </a:prstGeom>
          <a:solidFill>
            <a:schemeClr val="accent3"/>
          </a:solidFill>
          <a:ln>
            <a:noFill/>
            <a:headEnd type="none" w="med" len="med"/>
            <a:tailEnd type="none" w="med" len="med"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normAutofit/>
          </a:bodyPr>
          <a:lstStyle/>
          <a:p>
            <a:pPr marR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SzTx/>
              <a:tabLst/>
            </a:pPr>
            <a:endParaRPr kumimoji="0" lang="de-DE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6" name="Inhaltsplatzhalter 2"/>
          <p:cNvSpPr txBox="1">
            <a:spLocks/>
          </p:cNvSpPr>
          <p:nvPr/>
        </p:nvSpPr>
        <p:spPr bwMode="gray">
          <a:xfrm>
            <a:off x="5508104" y="1268760"/>
            <a:ext cx="3384000" cy="900000"/>
          </a:xfrm>
          <a:prstGeom prst="rect">
            <a:avLst/>
          </a:prstGeom>
          <a:solidFill>
            <a:schemeClr val="accent1"/>
          </a:solidFill>
          <a:ln>
            <a:noFill/>
          </a:ln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266700" indent="-266700" eaLnBrk="1" hangingPunct="1">
              <a:spcAft>
                <a:spcPct val="100000"/>
              </a:spcAft>
              <a:buClr>
                <a:schemeClr val="accent1"/>
              </a:buClr>
              <a:buFont typeface="Arial" charset="0"/>
              <a:buChar char="&gt;"/>
              <a:tabLst>
                <a:tab pos="266700" algn="l"/>
                <a:tab pos="534988" algn="l"/>
                <a:tab pos="542925" algn="l"/>
                <a:tab pos="809625" algn="l"/>
                <a:tab pos="1076325" algn="l"/>
                <a:tab pos="1343025" algn="l"/>
              </a:tabLst>
              <a:defRPr sz="2000">
                <a:latin typeface="+mn-lt"/>
                <a:ea typeface="ＭＳ Ｐゴシック" pitchFamily="-111" charset="-128"/>
                <a:cs typeface="ＭＳ Ｐゴシック" pitchFamily="-111" charset="-128"/>
              </a:defRPr>
            </a:lvl1pPr>
            <a:lvl2pPr marL="3175" lvl="1" indent="0" algn="ctr" eaLnBrk="1" hangingPunct="1">
              <a:spcAft>
                <a:spcPct val="100000"/>
              </a:spcAft>
              <a:buClr>
                <a:schemeClr val="accent1"/>
              </a:buClr>
              <a:buFont typeface="Arial" charset="0"/>
              <a:buNone/>
              <a:tabLst>
                <a:tab pos="0" algn="l"/>
                <a:tab pos="534988" algn="l"/>
                <a:tab pos="542925" algn="l"/>
                <a:tab pos="809625" algn="l"/>
                <a:tab pos="1076325" algn="l"/>
                <a:tab pos="1343025" algn="l"/>
              </a:tabLst>
              <a:defRPr sz="1800" b="1" kern="0">
                <a:latin typeface="+mn-lt"/>
                <a:ea typeface="ＭＳ Ｐゴシック" pitchFamily="23" charset="-128"/>
                <a:cs typeface="ＭＳ Ｐゴシック"/>
              </a:defRPr>
            </a:lvl2pPr>
            <a:lvl3pPr marL="806450" indent="-274638" eaLnBrk="1" hangingPunct="1">
              <a:spcAft>
                <a:spcPct val="100000"/>
              </a:spcAft>
              <a:buClr>
                <a:schemeClr val="accent1"/>
              </a:buClr>
              <a:buFont typeface="Arial" charset="0"/>
              <a:buChar char="•"/>
              <a:tabLst>
                <a:tab pos="266700" algn="l"/>
                <a:tab pos="534988" algn="l"/>
                <a:tab pos="542925" algn="l"/>
                <a:tab pos="809625" algn="l"/>
                <a:tab pos="1076325" algn="l"/>
                <a:tab pos="1343025" algn="l"/>
              </a:tabLst>
              <a:defRPr sz="2000">
                <a:latin typeface="+mn-lt"/>
                <a:ea typeface="ＭＳ Ｐゴシック" pitchFamily="23" charset="-128"/>
                <a:cs typeface="ＭＳ Ｐゴシック"/>
              </a:defRPr>
            </a:lvl3pPr>
            <a:lvl4pPr marL="1073150" indent="-265113" eaLnBrk="1" hangingPunct="1">
              <a:spcAft>
                <a:spcPct val="100000"/>
              </a:spcAft>
              <a:buClr>
                <a:schemeClr val="accent1"/>
              </a:buClr>
              <a:buFont typeface="Arial" charset="0"/>
              <a:buChar char="–"/>
              <a:tabLst>
                <a:tab pos="266700" algn="l"/>
                <a:tab pos="534988" algn="l"/>
                <a:tab pos="542925" algn="l"/>
                <a:tab pos="809625" algn="l"/>
                <a:tab pos="1076325" algn="l"/>
                <a:tab pos="1343025" algn="l"/>
              </a:tabLst>
              <a:defRPr sz="2000">
                <a:latin typeface="+mn-lt"/>
                <a:ea typeface="ＭＳ Ｐゴシック" pitchFamily="23" charset="-128"/>
                <a:cs typeface="ＭＳ Ｐゴシック"/>
              </a:defRPr>
            </a:lvl4pPr>
            <a:lvl5pPr marL="1339850" indent="-265113" eaLnBrk="1" hangingPunct="1">
              <a:spcAft>
                <a:spcPct val="100000"/>
              </a:spcAft>
              <a:buClr>
                <a:schemeClr val="accent1"/>
              </a:buClr>
              <a:buChar char="•"/>
              <a:tabLst>
                <a:tab pos="266700" algn="l"/>
                <a:tab pos="534988" algn="l"/>
                <a:tab pos="542925" algn="l"/>
                <a:tab pos="809625" algn="l"/>
                <a:tab pos="1076325" algn="l"/>
                <a:tab pos="1343025" algn="l"/>
              </a:tabLst>
              <a:defRPr sz="2000">
                <a:latin typeface="+mn-lt"/>
                <a:ea typeface="ＭＳ Ｐゴシック" pitchFamily="23" charset="-128"/>
                <a:cs typeface="ＭＳ Ｐゴシック"/>
              </a:defRPr>
            </a:lvl5pPr>
            <a:lvl6pPr marL="1797050" indent="-265113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Char char="•"/>
              <a:tabLst>
                <a:tab pos="266700" algn="l"/>
                <a:tab pos="534988" algn="l"/>
                <a:tab pos="542925" algn="l"/>
                <a:tab pos="809625" algn="l"/>
                <a:tab pos="1076325" algn="l"/>
                <a:tab pos="1343025" algn="l"/>
              </a:tabLst>
              <a:defRPr sz="2000">
                <a:latin typeface="+mn-lt"/>
                <a:ea typeface="ＭＳ Ｐゴシック" pitchFamily="23" charset="-128"/>
              </a:defRPr>
            </a:lvl6pPr>
            <a:lvl7pPr marL="2254250" indent="-265113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Char char="•"/>
              <a:tabLst>
                <a:tab pos="266700" algn="l"/>
                <a:tab pos="534988" algn="l"/>
                <a:tab pos="542925" algn="l"/>
                <a:tab pos="809625" algn="l"/>
                <a:tab pos="1076325" algn="l"/>
                <a:tab pos="1343025" algn="l"/>
              </a:tabLst>
              <a:defRPr sz="2000">
                <a:latin typeface="+mn-lt"/>
                <a:ea typeface="ＭＳ Ｐゴシック" pitchFamily="23" charset="-128"/>
              </a:defRPr>
            </a:lvl7pPr>
            <a:lvl8pPr marL="2711450" indent="-265113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Char char="•"/>
              <a:tabLst>
                <a:tab pos="266700" algn="l"/>
                <a:tab pos="534988" algn="l"/>
                <a:tab pos="542925" algn="l"/>
                <a:tab pos="809625" algn="l"/>
                <a:tab pos="1076325" algn="l"/>
                <a:tab pos="1343025" algn="l"/>
              </a:tabLst>
              <a:defRPr sz="2000">
                <a:latin typeface="+mn-lt"/>
                <a:ea typeface="ＭＳ Ｐゴシック" pitchFamily="23" charset="-128"/>
              </a:defRPr>
            </a:lvl8pPr>
            <a:lvl9pPr marL="3168650" indent="-265113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Char char="•"/>
              <a:tabLst>
                <a:tab pos="266700" algn="l"/>
                <a:tab pos="534988" algn="l"/>
                <a:tab pos="542925" algn="l"/>
                <a:tab pos="809625" algn="l"/>
                <a:tab pos="1076325" algn="l"/>
                <a:tab pos="1343025" algn="l"/>
              </a:tabLst>
              <a:defRPr sz="2000">
                <a:latin typeface="+mn-lt"/>
                <a:ea typeface="ＭＳ Ｐゴシック" pitchFamily="23" charset="-128"/>
              </a:defRPr>
            </a:lvl9pPr>
          </a:lstStyle>
          <a:p>
            <a:pPr lvl="1"/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</a:rPr>
              <a:t>system oriented use</a:t>
            </a:r>
            <a:b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en-US" sz="2000" b="0" dirty="0">
                <a:solidFill>
                  <a:schemeClr val="bg1"/>
                </a:solidFill>
                <a:latin typeface="Calibri" panose="020F0502020204030204" pitchFamily="34" charset="0"/>
              </a:rPr>
              <a:t>balancing independent</a:t>
            </a:r>
            <a:br>
              <a:rPr lang="en-US" sz="2000" b="0" dirty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en-US" sz="2000" b="0" dirty="0">
                <a:solidFill>
                  <a:schemeClr val="bg1"/>
                </a:solidFill>
                <a:latin typeface="Calibri" panose="020F0502020204030204" pitchFamily="34" charset="0"/>
              </a:rPr>
              <a:t>of location</a:t>
            </a:r>
          </a:p>
        </p:txBody>
      </p:sp>
      <p:sp>
        <p:nvSpPr>
          <p:cNvPr id="7" name="Inhaltsplatzhalter 2"/>
          <p:cNvSpPr txBox="1">
            <a:spLocks/>
          </p:cNvSpPr>
          <p:nvPr/>
        </p:nvSpPr>
        <p:spPr bwMode="gray">
          <a:xfrm>
            <a:off x="2879812" y="5193196"/>
            <a:ext cx="3384000" cy="900000"/>
          </a:xfrm>
          <a:prstGeom prst="rect">
            <a:avLst/>
          </a:prstGeom>
          <a:solidFill>
            <a:schemeClr val="accent1"/>
          </a:solidFill>
          <a:ln>
            <a:noFill/>
          </a:ln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266700" indent="-266700" algn="l" rtl="0" eaLnBrk="1" fontAlgn="base" hangingPunct="1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charset="0"/>
              <a:buChar char="&gt;"/>
              <a:tabLst>
                <a:tab pos="266700" algn="l"/>
                <a:tab pos="534988" algn="l"/>
                <a:tab pos="542925" algn="l"/>
                <a:tab pos="809625" algn="l"/>
                <a:tab pos="1076325" algn="l"/>
                <a:tab pos="1343025" algn="l"/>
              </a:tabLst>
              <a:defRPr sz="2000">
                <a:solidFill>
                  <a:schemeClr val="tx1"/>
                </a:solidFill>
                <a:latin typeface="+mn-lt"/>
                <a:ea typeface="ＭＳ Ｐゴシック" pitchFamily="-111" charset="-128"/>
                <a:cs typeface="ＭＳ Ｐゴシック" pitchFamily="-111" charset="-128"/>
              </a:defRPr>
            </a:lvl1pPr>
            <a:lvl2pPr marL="530225" indent="-261938" algn="l" rtl="0" eaLnBrk="1" fontAlgn="base" hangingPunct="1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charset="0"/>
              <a:buChar char="–"/>
              <a:tabLst>
                <a:tab pos="266700" algn="l"/>
                <a:tab pos="534988" algn="l"/>
                <a:tab pos="542925" algn="l"/>
                <a:tab pos="809625" algn="l"/>
                <a:tab pos="1076325" algn="l"/>
                <a:tab pos="1343025" algn="l"/>
              </a:tabLst>
              <a:defRPr sz="2000">
                <a:solidFill>
                  <a:schemeClr val="tx1"/>
                </a:solidFill>
                <a:latin typeface="+mn-lt"/>
                <a:ea typeface="ＭＳ Ｐゴシック" pitchFamily="23" charset="-128"/>
                <a:cs typeface="ＭＳ Ｐゴシック"/>
              </a:defRPr>
            </a:lvl2pPr>
            <a:lvl3pPr marL="806450" indent="-274638" algn="l" rtl="0" eaLnBrk="1" fontAlgn="base" hangingPunct="1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charset="0"/>
              <a:buChar char="•"/>
              <a:tabLst>
                <a:tab pos="266700" algn="l"/>
                <a:tab pos="534988" algn="l"/>
                <a:tab pos="542925" algn="l"/>
                <a:tab pos="809625" algn="l"/>
                <a:tab pos="1076325" algn="l"/>
                <a:tab pos="1343025" algn="l"/>
              </a:tabLst>
              <a:defRPr sz="2000">
                <a:solidFill>
                  <a:schemeClr val="tx1"/>
                </a:solidFill>
                <a:latin typeface="+mn-lt"/>
                <a:ea typeface="ＭＳ Ｐゴシック" pitchFamily="23" charset="-128"/>
                <a:cs typeface="ＭＳ Ｐゴシック"/>
              </a:defRPr>
            </a:lvl3pPr>
            <a:lvl4pPr marL="1073150" indent="-265113" algn="l" rtl="0" eaLnBrk="1" fontAlgn="base" hangingPunct="1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Font typeface="Arial" charset="0"/>
              <a:buChar char="–"/>
              <a:tabLst>
                <a:tab pos="266700" algn="l"/>
                <a:tab pos="534988" algn="l"/>
                <a:tab pos="542925" algn="l"/>
                <a:tab pos="809625" algn="l"/>
                <a:tab pos="1076325" algn="l"/>
                <a:tab pos="1343025" algn="l"/>
              </a:tabLst>
              <a:defRPr sz="2000">
                <a:solidFill>
                  <a:schemeClr val="tx1"/>
                </a:solidFill>
                <a:latin typeface="+mn-lt"/>
                <a:ea typeface="ＭＳ Ｐゴシック" pitchFamily="23" charset="-128"/>
                <a:cs typeface="ＭＳ Ｐゴシック"/>
              </a:defRPr>
            </a:lvl4pPr>
            <a:lvl5pPr marL="1339850" indent="-265113" algn="l" rtl="0" eaLnBrk="1" fontAlgn="base" hangingPunct="1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Char char="•"/>
              <a:tabLst>
                <a:tab pos="266700" algn="l"/>
                <a:tab pos="534988" algn="l"/>
                <a:tab pos="542925" algn="l"/>
                <a:tab pos="809625" algn="l"/>
                <a:tab pos="1076325" algn="l"/>
                <a:tab pos="1343025" algn="l"/>
              </a:tabLst>
              <a:defRPr sz="2000">
                <a:solidFill>
                  <a:schemeClr val="tx1"/>
                </a:solidFill>
                <a:latin typeface="+mn-lt"/>
                <a:ea typeface="ＭＳ Ｐゴシック" pitchFamily="23" charset="-128"/>
                <a:cs typeface="ＭＳ Ｐゴシック"/>
              </a:defRPr>
            </a:lvl5pPr>
            <a:lvl6pPr marL="1797050" indent="-265113" algn="l" rtl="0" eaLnBrk="1" fontAlgn="base" hangingPunct="1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Char char="•"/>
              <a:tabLst>
                <a:tab pos="266700" algn="l"/>
                <a:tab pos="534988" algn="l"/>
                <a:tab pos="542925" algn="l"/>
                <a:tab pos="809625" algn="l"/>
                <a:tab pos="1076325" algn="l"/>
                <a:tab pos="1343025" algn="l"/>
              </a:tabLst>
              <a:defRPr sz="2000">
                <a:solidFill>
                  <a:schemeClr val="tx1"/>
                </a:solidFill>
                <a:latin typeface="+mn-lt"/>
                <a:ea typeface="ＭＳ Ｐゴシック" pitchFamily="23" charset="-128"/>
              </a:defRPr>
            </a:lvl6pPr>
            <a:lvl7pPr marL="2254250" indent="-265113" algn="l" rtl="0" eaLnBrk="1" fontAlgn="base" hangingPunct="1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Char char="•"/>
              <a:tabLst>
                <a:tab pos="266700" algn="l"/>
                <a:tab pos="534988" algn="l"/>
                <a:tab pos="542925" algn="l"/>
                <a:tab pos="809625" algn="l"/>
                <a:tab pos="1076325" algn="l"/>
                <a:tab pos="1343025" algn="l"/>
              </a:tabLst>
              <a:defRPr sz="2000">
                <a:solidFill>
                  <a:schemeClr val="tx1"/>
                </a:solidFill>
                <a:latin typeface="+mn-lt"/>
                <a:ea typeface="ＭＳ Ｐゴシック" pitchFamily="23" charset="-128"/>
              </a:defRPr>
            </a:lvl7pPr>
            <a:lvl8pPr marL="2711450" indent="-265113" algn="l" rtl="0" eaLnBrk="1" fontAlgn="base" hangingPunct="1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Char char="•"/>
              <a:tabLst>
                <a:tab pos="266700" algn="l"/>
                <a:tab pos="534988" algn="l"/>
                <a:tab pos="542925" algn="l"/>
                <a:tab pos="809625" algn="l"/>
                <a:tab pos="1076325" algn="l"/>
                <a:tab pos="1343025" algn="l"/>
              </a:tabLst>
              <a:defRPr sz="2000">
                <a:solidFill>
                  <a:schemeClr val="tx1"/>
                </a:solidFill>
                <a:latin typeface="+mn-lt"/>
                <a:ea typeface="ＭＳ Ｐゴシック" pitchFamily="23" charset="-128"/>
              </a:defRPr>
            </a:lvl8pPr>
            <a:lvl9pPr marL="3168650" indent="-265113" algn="l" rtl="0" eaLnBrk="1" fontAlgn="base" hangingPunct="1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Char char="•"/>
              <a:tabLst>
                <a:tab pos="266700" algn="l"/>
                <a:tab pos="534988" algn="l"/>
                <a:tab pos="542925" algn="l"/>
                <a:tab pos="809625" algn="l"/>
                <a:tab pos="1076325" algn="l"/>
                <a:tab pos="1343025" algn="l"/>
              </a:tabLst>
              <a:defRPr sz="2000">
                <a:solidFill>
                  <a:schemeClr val="tx1"/>
                </a:solidFill>
                <a:latin typeface="+mn-lt"/>
                <a:ea typeface="ＭＳ Ｐゴシック" pitchFamily="23" charset="-128"/>
              </a:defRPr>
            </a:lvl9pPr>
          </a:lstStyle>
          <a:p>
            <a:pPr marL="3175" lvl="1" indent="0" algn="ctr">
              <a:buNone/>
              <a:tabLst>
                <a:tab pos="0" algn="l"/>
                <a:tab pos="534988" algn="l"/>
                <a:tab pos="542925" algn="l"/>
                <a:tab pos="809625" algn="l"/>
                <a:tab pos="1076325" algn="l"/>
                <a:tab pos="1343025" algn="l"/>
              </a:tabLst>
            </a:pPr>
            <a:r>
              <a:rPr lang="en-US" b="1" kern="0" dirty="0">
                <a:solidFill>
                  <a:schemeClr val="bg1"/>
                </a:solidFill>
                <a:latin typeface="Calibri" panose="020F0502020204030204" pitchFamily="34" charset="0"/>
              </a:rPr>
              <a:t>grid oriented use</a:t>
            </a:r>
            <a:br>
              <a:rPr lang="en-US" b="1" kern="0" dirty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en-US" kern="0" dirty="0">
                <a:solidFill>
                  <a:schemeClr val="bg1"/>
                </a:solidFill>
                <a:latin typeface="Calibri" panose="020F0502020204030204" pitchFamily="34" charset="0"/>
              </a:rPr>
              <a:t>avoid local</a:t>
            </a:r>
            <a:br>
              <a:rPr lang="en-US" kern="0" dirty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en-US" kern="0" dirty="0">
                <a:solidFill>
                  <a:schemeClr val="bg1"/>
                </a:solidFill>
                <a:latin typeface="Calibri" panose="020F0502020204030204" pitchFamily="34" charset="0"/>
              </a:rPr>
              <a:t>grid constraints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3527884" y="2708920"/>
            <a:ext cx="2088232" cy="1104317"/>
          </a:xfrm>
          <a:prstGeom prst="rect">
            <a:avLst/>
          </a:prstGeom>
          <a:noFill/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none" lIns="90000" tIns="46800" rIns="90000" bIns="468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b="1" dirty="0">
                <a:solidFill>
                  <a:schemeClr val="accent1"/>
                </a:solidFill>
                <a:effectLst>
                  <a:outerShdw blurRad="50800" dist="38100" dir="2700000" algn="tl" rotWithShape="0">
                    <a:schemeClr val="bg1"/>
                  </a:outerShdw>
                </a:effectLst>
                <a:latin typeface="Calibri" panose="020F0502020204030204" pitchFamily="34" charset="0"/>
              </a:rPr>
              <a:t>Flexibility</a:t>
            </a:r>
            <a:br>
              <a:rPr lang="en-US" sz="3200" b="1" dirty="0">
                <a:solidFill>
                  <a:schemeClr val="accent1"/>
                </a:solidFill>
                <a:effectLst>
                  <a:outerShdw blurRad="50800" dist="38100" dir="2700000" algn="tl" rotWithShape="0">
                    <a:schemeClr val="bg1"/>
                  </a:outerShdw>
                </a:effectLst>
                <a:latin typeface="Calibri" panose="020F0502020204030204" pitchFamily="34" charset="0"/>
              </a:rPr>
            </a:br>
            <a:r>
              <a:rPr lang="en-US" sz="3200" dirty="0">
                <a:solidFill>
                  <a:schemeClr val="accent1"/>
                </a:solidFill>
                <a:effectLst>
                  <a:outerShdw blurRad="50800" dist="38100" dir="2700000" algn="tl" rotWithShape="0">
                    <a:schemeClr val="bg1"/>
                  </a:outerShdw>
                </a:effectLst>
                <a:latin typeface="Calibri" panose="020F0502020204030204" pitchFamily="34" charset="0"/>
              </a:rPr>
              <a:t>adaption of generation</a:t>
            </a:r>
            <a:br>
              <a:rPr lang="en-US" sz="3200" dirty="0">
                <a:solidFill>
                  <a:schemeClr val="accent1"/>
                </a:solidFill>
                <a:effectLst>
                  <a:outerShdw blurRad="50800" dist="38100" dir="2700000" algn="tl" rotWithShape="0">
                    <a:schemeClr val="bg1"/>
                  </a:outerShdw>
                </a:effectLst>
                <a:latin typeface="Calibri" panose="020F0502020204030204" pitchFamily="34" charset="0"/>
              </a:rPr>
            </a:br>
            <a:r>
              <a:rPr lang="en-US" sz="3200" dirty="0">
                <a:solidFill>
                  <a:schemeClr val="accent1"/>
                </a:solidFill>
                <a:effectLst>
                  <a:outerShdw blurRad="50800" dist="38100" dir="2700000" algn="tl" rotWithShape="0">
                    <a:schemeClr val="bg1"/>
                  </a:outerShdw>
                </a:effectLst>
                <a:latin typeface="Calibri" panose="020F0502020204030204" pitchFamily="34" charset="0"/>
              </a:rPr>
              <a:t>or demand behavior</a:t>
            </a:r>
            <a:br>
              <a:rPr lang="en-US" sz="3200" dirty="0">
                <a:solidFill>
                  <a:schemeClr val="accent1"/>
                </a:solidFill>
                <a:effectLst>
                  <a:outerShdw blurRad="50800" dist="38100" dir="2700000" algn="tl" rotWithShape="0">
                    <a:schemeClr val="bg1"/>
                  </a:outerShdw>
                </a:effectLst>
                <a:latin typeface="Calibri" panose="020F0502020204030204" pitchFamily="34" charset="0"/>
              </a:rPr>
            </a:br>
            <a:r>
              <a:rPr lang="en-US" sz="3200" dirty="0">
                <a:solidFill>
                  <a:schemeClr val="accent1"/>
                </a:solidFill>
                <a:effectLst>
                  <a:outerShdw blurRad="50800" dist="38100" dir="2700000" algn="tl" rotWithShape="0">
                    <a:schemeClr val="bg1"/>
                  </a:outerShdw>
                </a:effectLst>
                <a:latin typeface="Calibri" panose="020F0502020204030204" pitchFamily="34" charset="0"/>
              </a:rPr>
              <a:t>by external</a:t>
            </a:r>
            <a:br>
              <a:rPr lang="en-US" sz="3200" dirty="0">
                <a:solidFill>
                  <a:schemeClr val="accent1"/>
                </a:solidFill>
                <a:effectLst>
                  <a:outerShdw blurRad="50800" dist="38100" dir="2700000" algn="tl" rotWithShape="0">
                    <a:schemeClr val="bg1"/>
                  </a:outerShdw>
                </a:effectLst>
                <a:latin typeface="Calibri" panose="020F0502020204030204" pitchFamily="34" charset="0"/>
              </a:rPr>
            </a:br>
            <a:r>
              <a:rPr lang="en-US" sz="3200" dirty="0">
                <a:solidFill>
                  <a:schemeClr val="accent1"/>
                </a:solidFill>
                <a:effectLst>
                  <a:outerShdw blurRad="50800" dist="38100" dir="2700000" algn="tl" rotWithShape="0">
                    <a:schemeClr val="bg1"/>
                  </a:outerShdw>
                </a:effectLst>
                <a:latin typeface="Calibri" panose="020F0502020204030204" pitchFamily="34" charset="0"/>
              </a:rPr>
              <a:t>signals</a:t>
            </a:r>
          </a:p>
        </p:txBody>
      </p:sp>
      <p:sp>
        <p:nvSpPr>
          <p:cNvPr id="9" name="Inhaltsplatzhalter 2"/>
          <p:cNvSpPr txBox="1">
            <a:spLocks/>
          </p:cNvSpPr>
          <p:nvPr/>
        </p:nvSpPr>
        <p:spPr bwMode="gray">
          <a:xfrm>
            <a:off x="251520" y="1268760"/>
            <a:ext cx="3384000" cy="9000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173038" indent="-173038" algn="l" defTabSz="360363" rtl="0" eaLnBrk="1" fontAlgn="base" hangingPunct="1"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Arial" charset="0"/>
              <a:buChar char="&gt;"/>
              <a:tabLst/>
              <a:defRPr sz="18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360363" indent="-184150" algn="l" defTabSz="360363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charset="0"/>
              <a:buChar char="–"/>
              <a:tabLst/>
              <a:defRPr sz="18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536575" indent="-176213" algn="l" defTabSz="360363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charset="0"/>
              <a:buChar char="•"/>
              <a:tabLst/>
              <a:defRPr sz="18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720725" indent="-176213" algn="l" defTabSz="360363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charset="0"/>
              <a:buChar char="–"/>
              <a:tabLst/>
              <a:defRPr sz="18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896938" indent="-176213" algn="l" defTabSz="360363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tabLst/>
              <a:defRPr sz="18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1797050" indent="-265113" algn="l" rtl="0" eaLnBrk="1" fontAlgn="base" hangingPunct="1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Char char="•"/>
              <a:tabLst>
                <a:tab pos="266700" algn="l"/>
                <a:tab pos="534988" algn="l"/>
                <a:tab pos="542925" algn="l"/>
                <a:tab pos="809625" algn="l"/>
                <a:tab pos="1076325" algn="l"/>
                <a:tab pos="1343025" algn="l"/>
              </a:tabLst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254250" indent="-265113" algn="l" rtl="0" eaLnBrk="1" fontAlgn="base" hangingPunct="1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Char char="•"/>
              <a:tabLst>
                <a:tab pos="266700" algn="l"/>
                <a:tab pos="534988" algn="l"/>
                <a:tab pos="542925" algn="l"/>
                <a:tab pos="809625" algn="l"/>
                <a:tab pos="1076325" algn="l"/>
                <a:tab pos="1343025" algn="l"/>
              </a:tabLst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2711450" indent="-265113" algn="l" rtl="0" eaLnBrk="1" fontAlgn="base" hangingPunct="1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Char char="•"/>
              <a:tabLst>
                <a:tab pos="266700" algn="l"/>
                <a:tab pos="534988" algn="l"/>
                <a:tab pos="542925" algn="l"/>
                <a:tab pos="809625" algn="l"/>
                <a:tab pos="1076325" algn="l"/>
                <a:tab pos="1343025" algn="l"/>
              </a:tabLst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168650" indent="-265113" algn="l" rtl="0" eaLnBrk="1" fontAlgn="base" hangingPunct="1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Char char="•"/>
              <a:tabLst>
                <a:tab pos="266700" algn="l"/>
                <a:tab pos="534988" algn="l"/>
                <a:tab pos="542925" algn="l"/>
                <a:tab pos="809625" algn="l"/>
                <a:tab pos="1076325" algn="l"/>
                <a:tab pos="1343025" algn="l"/>
              </a:tabLst>
              <a:defRPr sz="20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175" lvl="1" indent="0" algn="ctr">
              <a:buNone/>
              <a:tabLst>
                <a:tab pos="0" algn="l"/>
                <a:tab pos="534988" algn="l"/>
                <a:tab pos="542925" algn="l"/>
                <a:tab pos="809625" algn="l"/>
                <a:tab pos="1076325" algn="l"/>
                <a:tab pos="1343025" algn="l"/>
              </a:tabLst>
            </a:pPr>
            <a:r>
              <a:rPr lang="en-US" sz="2000" b="1" kern="0" dirty="0">
                <a:solidFill>
                  <a:schemeClr val="bg1"/>
                </a:solidFill>
                <a:latin typeface="Calibri" panose="020F0502020204030204" pitchFamily="34" charset="0"/>
                <a:ea typeface="ＭＳ Ｐゴシック" pitchFamily="23" charset="-128"/>
                <a:cs typeface="ＭＳ Ｐゴシック"/>
              </a:rPr>
              <a:t>market oriented use</a:t>
            </a:r>
            <a:br>
              <a:rPr lang="en-US" sz="2000" b="1" kern="0" dirty="0">
                <a:solidFill>
                  <a:schemeClr val="bg1"/>
                </a:solidFill>
                <a:latin typeface="Calibri" panose="020F0502020204030204" pitchFamily="34" charset="0"/>
                <a:ea typeface="ＭＳ Ｐゴシック" pitchFamily="23" charset="-128"/>
                <a:cs typeface="ＭＳ Ｐゴシック"/>
              </a:rPr>
            </a:br>
            <a:r>
              <a:rPr lang="en-US" sz="2000" kern="0" dirty="0">
                <a:solidFill>
                  <a:schemeClr val="bg1"/>
                </a:solidFill>
                <a:latin typeface="Calibri" panose="020F0502020204030204" pitchFamily="34" charset="0"/>
                <a:ea typeface="ＭＳ Ｐゴシック" pitchFamily="23" charset="-128"/>
                <a:cs typeface="ＭＳ Ｐゴシック"/>
              </a:rPr>
              <a:t>portfolio </a:t>
            </a:r>
            <a:r>
              <a:rPr lang="en-US" sz="2000" kern="0" dirty="0" smtClean="0">
                <a:solidFill>
                  <a:schemeClr val="bg1"/>
                </a:solidFill>
                <a:latin typeface="Calibri" panose="020F0502020204030204" pitchFamily="34" charset="0"/>
                <a:ea typeface="ＭＳ Ｐゴシック" pitchFamily="23" charset="-128"/>
                <a:cs typeface="ＭＳ Ｐゴシック"/>
              </a:rPr>
              <a:t>optimization </a:t>
            </a:r>
            <a:r>
              <a:rPr lang="en-US" sz="2000" kern="0" dirty="0">
                <a:solidFill>
                  <a:schemeClr val="bg1"/>
                </a:solidFill>
                <a:latin typeface="Calibri" panose="020F0502020204030204" pitchFamily="34" charset="0"/>
                <a:ea typeface="ＭＳ Ｐゴシック" pitchFamily="23" charset="-128"/>
                <a:cs typeface="ＭＳ Ｐゴシック"/>
              </a:rPr>
              <a:t>of </a:t>
            </a:r>
            <a:br>
              <a:rPr lang="en-US" sz="2000" kern="0" dirty="0">
                <a:solidFill>
                  <a:schemeClr val="bg1"/>
                </a:solidFill>
                <a:latin typeface="Calibri" panose="020F0502020204030204" pitchFamily="34" charset="0"/>
                <a:ea typeface="ＭＳ Ｐゴシック" pitchFamily="23" charset="-128"/>
                <a:cs typeface="ＭＳ Ｐゴシック"/>
              </a:rPr>
            </a:br>
            <a:r>
              <a:rPr lang="en-US" sz="2000" kern="0" dirty="0">
                <a:solidFill>
                  <a:schemeClr val="bg1"/>
                </a:solidFill>
                <a:latin typeface="Calibri" panose="020F0502020204030204" pitchFamily="34" charset="0"/>
                <a:ea typeface="ＭＳ Ｐゴシック" pitchFamily="23" charset="-128"/>
                <a:cs typeface="ＭＳ Ｐゴシック"/>
              </a:rPr>
              <a:t>demand and supply</a:t>
            </a:r>
          </a:p>
        </p:txBody>
      </p:sp>
      <p:sp>
        <p:nvSpPr>
          <p:cNvPr id="2" name="Nach links gekrümmter Pfeil 1"/>
          <p:cNvSpPr/>
          <p:nvPr/>
        </p:nvSpPr>
        <p:spPr bwMode="auto">
          <a:xfrm>
            <a:off x="6120172" y="3609020"/>
            <a:ext cx="720080" cy="648218"/>
          </a:xfrm>
          <a:prstGeom prst="curvedLeftArrow">
            <a:avLst/>
          </a:prstGeom>
          <a:solidFill>
            <a:schemeClr val="accent3"/>
          </a:solidFill>
          <a:ln w="63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266700" marR="0" indent="-26670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SzTx/>
              <a:buFont typeface="Arial" pitchFamily="34" charset="0"/>
              <a:buChar char="&gt;"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23" charset="0"/>
            </a:endParaRPr>
          </a:p>
        </p:txBody>
      </p:sp>
      <p:sp>
        <p:nvSpPr>
          <p:cNvPr id="12" name="Inhaltsplatzhalter 2"/>
          <p:cNvSpPr txBox="1">
            <a:spLocks/>
          </p:cNvSpPr>
          <p:nvPr/>
        </p:nvSpPr>
        <p:spPr bwMode="gray">
          <a:xfrm>
            <a:off x="6912448" y="3248980"/>
            <a:ext cx="1979656" cy="1152274"/>
          </a:xfrm>
          <a:prstGeom prst="rect">
            <a:avLst/>
          </a:prstGeom>
          <a:solidFill>
            <a:schemeClr val="accent1"/>
          </a:solidFill>
          <a:ln>
            <a:noFill/>
          </a:ln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de-DE"/>
            </a:defPPr>
            <a:lvl1pPr marL="266700" indent="-266700" eaLnBrk="1" hangingPunct="1">
              <a:spcAft>
                <a:spcPct val="100000"/>
              </a:spcAft>
              <a:buClr>
                <a:schemeClr val="accent1"/>
              </a:buClr>
              <a:buFont typeface="Arial" charset="0"/>
              <a:buChar char="&gt;"/>
              <a:tabLst>
                <a:tab pos="266700" algn="l"/>
                <a:tab pos="534988" algn="l"/>
                <a:tab pos="542925" algn="l"/>
                <a:tab pos="809625" algn="l"/>
                <a:tab pos="1076325" algn="l"/>
                <a:tab pos="1343025" algn="l"/>
              </a:tabLst>
              <a:defRPr sz="2000">
                <a:latin typeface="+mn-lt"/>
                <a:ea typeface="ＭＳ Ｐゴシック" pitchFamily="-111" charset="-128"/>
                <a:cs typeface="ＭＳ Ｐゴシック" pitchFamily="-111" charset="-128"/>
              </a:defRPr>
            </a:lvl1pPr>
            <a:lvl2pPr marL="3175" lvl="1" indent="0" algn="ctr" eaLnBrk="1" hangingPunct="1">
              <a:spcAft>
                <a:spcPct val="100000"/>
              </a:spcAft>
              <a:buClr>
                <a:schemeClr val="accent1"/>
              </a:buClr>
              <a:buFont typeface="Arial" charset="0"/>
              <a:buNone/>
              <a:tabLst>
                <a:tab pos="0" algn="l"/>
                <a:tab pos="534988" algn="l"/>
                <a:tab pos="542925" algn="l"/>
                <a:tab pos="809625" algn="l"/>
                <a:tab pos="1076325" algn="l"/>
                <a:tab pos="1343025" algn="l"/>
              </a:tabLst>
              <a:defRPr sz="1800" b="1" kern="0">
                <a:latin typeface="+mn-lt"/>
                <a:ea typeface="ＭＳ Ｐゴシック" pitchFamily="23" charset="-128"/>
                <a:cs typeface="ＭＳ Ｐゴシック"/>
              </a:defRPr>
            </a:lvl2pPr>
            <a:lvl3pPr marL="806450" indent="-274638" eaLnBrk="1" hangingPunct="1">
              <a:spcAft>
                <a:spcPct val="100000"/>
              </a:spcAft>
              <a:buClr>
                <a:schemeClr val="accent1"/>
              </a:buClr>
              <a:buFont typeface="Arial" charset="0"/>
              <a:buChar char="•"/>
              <a:tabLst>
                <a:tab pos="266700" algn="l"/>
                <a:tab pos="534988" algn="l"/>
                <a:tab pos="542925" algn="l"/>
                <a:tab pos="809625" algn="l"/>
                <a:tab pos="1076325" algn="l"/>
                <a:tab pos="1343025" algn="l"/>
              </a:tabLst>
              <a:defRPr sz="2000">
                <a:latin typeface="+mn-lt"/>
                <a:ea typeface="ＭＳ Ｐゴシック" pitchFamily="23" charset="-128"/>
                <a:cs typeface="ＭＳ Ｐゴシック"/>
              </a:defRPr>
            </a:lvl3pPr>
            <a:lvl4pPr marL="1073150" indent="-265113" eaLnBrk="1" hangingPunct="1">
              <a:spcAft>
                <a:spcPct val="100000"/>
              </a:spcAft>
              <a:buClr>
                <a:schemeClr val="accent1"/>
              </a:buClr>
              <a:buFont typeface="Arial" charset="0"/>
              <a:buChar char="–"/>
              <a:tabLst>
                <a:tab pos="266700" algn="l"/>
                <a:tab pos="534988" algn="l"/>
                <a:tab pos="542925" algn="l"/>
                <a:tab pos="809625" algn="l"/>
                <a:tab pos="1076325" algn="l"/>
                <a:tab pos="1343025" algn="l"/>
              </a:tabLst>
              <a:defRPr sz="2000">
                <a:latin typeface="+mn-lt"/>
                <a:ea typeface="ＭＳ Ｐゴシック" pitchFamily="23" charset="-128"/>
                <a:cs typeface="ＭＳ Ｐゴシック"/>
              </a:defRPr>
            </a:lvl4pPr>
            <a:lvl5pPr marL="1339850" indent="-265113" eaLnBrk="1" hangingPunct="1">
              <a:spcAft>
                <a:spcPct val="100000"/>
              </a:spcAft>
              <a:buClr>
                <a:schemeClr val="accent1"/>
              </a:buClr>
              <a:buChar char="•"/>
              <a:tabLst>
                <a:tab pos="266700" algn="l"/>
                <a:tab pos="534988" algn="l"/>
                <a:tab pos="542925" algn="l"/>
                <a:tab pos="809625" algn="l"/>
                <a:tab pos="1076325" algn="l"/>
                <a:tab pos="1343025" algn="l"/>
              </a:tabLst>
              <a:defRPr sz="2000">
                <a:latin typeface="+mn-lt"/>
                <a:ea typeface="ＭＳ Ｐゴシック" pitchFamily="23" charset="-128"/>
                <a:cs typeface="ＭＳ Ｐゴシック"/>
              </a:defRPr>
            </a:lvl5pPr>
            <a:lvl6pPr marL="1797050" indent="-265113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Char char="•"/>
              <a:tabLst>
                <a:tab pos="266700" algn="l"/>
                <a:tab pos="534988" algn="l"/>
                <a:tab pos="542925" algn="l"/>
                <a:tab pos="809625" algn="l"/>
                <a:tab pos="1076325" algn="l"/>
                <a:tab pos="1343025" algn="l"/>
              </a:tabLst>
              <a:defRPr sz="2000">
                <a:latin typeface="+mn-lt"/>
                <a:ea typeface="ＭＳ Ｐゴシック" pitchFamily="23" charset="-128"/>
              </a:defRPr>
            </a:lvl6pPr>
            <a:lvl7pPr marL="2254250" indent="-265113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Char char="•"/>
              <a:tabLst>
                <a:tab pos="266700" algn="l"/>
                <a:tab pos="534988" algn="l"/>
                <a:tab pos="542925" algn="l"/>
                <a:tab pos="809625" algn="l"/>
                <a:tab pos="1076325" algn="l"/>
                <a:tab pos="1343025" algn="l"/>
              </a:tabLst>
              <a:defRPr sz="2000">
                <a:latin typeface="+mn-lt"/>
                <a:ea typeface="ＭＳ Ｐゴシック" pitchFamily="23" charset="-128"/>
              </a:defRPr>
            </a:lvl7pPr>
            <a:lvl8pPr marL="2711450" indent="-265113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Char char="•"/>
              <a:tabLst>
                <a:tab pos="266700" algn="l"/>
                <a:tab pos="534988" algn="l"/>
                <a:tab pos="542925" algn="l"/>
                <a:tab pos="809625" algn="l"/>
                <a:tab pos="1076325" algn="l"/>
                <a:tab pos="1343025" algn="l"/>
              </a:tabLst>
              <a:defRPr sz="2000">
                <a:latin typeface="+mn-lt"/>
                <a:ea typeface="ＭＳ Ｐゴシック" pitchFamily="23" charset="-128"/>
              </a:defRPr>
            </a:lvl8pPr>
            <a:lvl9pPr marL="3168650" indent="-265113" fontAlgn="base"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Char char="•"/>
              <a:tabLst>
                <a:tab pos="266700" algn="l"/>
                <a:tab pos="534988" algn="l"/>
                <a:tab pos="542925" algn="l"/>
                <a:tab pos="809625" algn="l"/>
                <a:tab pos="1076325" algn="l"/>
                <a:tab pos="1343025" algn="l"/>
              </a:tabLst>
              <a:defRPr sz="2000">
                <a:latin typeface="+mn-lt"/>
                <a:ea typeface="ＭＳ Ｐゴシック" pitchFamily="23" charset="-128"/>
              </a:defRPr>
            </a:lvl9pPr>
          </a:lstStyle>
          <a:p>
            <a:pPr lvl="1"/>
            <a:r>
              <a:rPr lang="en-US" sz="2000" dirty="0" smtClean="0">
                <a:solidFill>
                  <a:schemeClr val="bg1"/>
                </a:solidFill>
                <a:latin typeface="Calibri" panose="020F0502020204030204" pitchFamily="34" charset="0"/>
              </a:rPr>
              <a:t>Customer oriented </a:t>
            </a:r>
            <a: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</a:rPr>
              <a:t>use</a:t>
            </a:r>
            <a:br>
              <a:rPr lang="en-US" sz="2000" dirty="0">
                <a:solidFill>
                  <a:schemeClr val="bg1"/>
                </a:solidFill>
                <a:latin typeface="Calibri" panose="020F0502020204030204" pitchFamily="34" charset="0"/>
              </a:rPr>
            </a:br>
            <a:r>
              <a:rPr lang="en-US" sz="2000" b="0" dirty="0" smtClean="0">
                <a:solidFill>
                  <a:schemeClr val="bg1"/>
                </a:solidFill>
                <a:latin typeface="Calibri" panose="020F0502020204030204" pitchFamily="34" charset="0"/>
              </a:rPr>
              <a:t>self-consumption</a:t>
            </a:r>
            <a:endParaRPr lang="en-US" sz="2000" b="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9953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action of Market &amp; Grid - </a:t>
            </a:r>
            <a:r>
              <a:rPr lang="de-DE" dirty="0" smtClean="0"/>
              <a:t>Traffic </a:t>
            </a:r>
            <a:r>
              <a:rPr lang="de-DE" dirty="0"/>
              <a:t>light </a:t>
            </a:r>
            <a:r>
              <a:rPr lang="de-DE" dirty="0" err="1" smtClean="0"/>
              <a:t>concept</a:t>
            </a:r>
            <a:r>
              <a:rPr lang="de-DE" dirty="0" smtClean="0"/>
              <a:t> </a:t>
            </a:r>
            <a:r>
              <a:rPr lang="de-DE" dirty="0" err="1" smtClean="0"/>
              <a:t>enables</a:t>
            </a:r>
            <a:r>
              <a:rPr lang="de-DE" dirty="0" smtClean="0"/>
              <a:t> a </a:t>
            </a:r>
            <a:r>
              <a:rPr lang="en-US" dirty="0"/>
              <a:t>flexible market environment</a:t>
            </a:r>
            <a:endParaRPr lang="de-DE" dirty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8295078"/>
              </p:ext>
            </p:extLst>
          </p:nvPr>
        </p:nvGraphicFramePr>
        <p:xfrm>
          <a:off x="1115616" y="1484784"/>
          <a:ext cx="6840760" cy="439631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840760"/>
              </a:tblGrid>
              <a:tr h="389432">
                <a:tc>
                  <a:txBody>
                    <a:bodyPr/>
                    <a:lstStyle/>
                    <a:p>
                      <a:pPr algn="ctr"/>
                      <a:r>
                        <a:rPr lang="de-DE" sz="2800" b="1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Green</a:t>
                      </a:r>
                      <a:endParaRPr lang="de-DE" sz="2800" b="1" dirty="0">
                        <a:ln>
                          <a:noFill/>
                        </a:ln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36000" marR="36000" marT="36000" marB="36000" anchor="ctr">
                    <a:lnL w="38100" cap="flat" cmpd="sng" algn="ctr">
                      <a:solidFill>
                        <a:srgbClr val="009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9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9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9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9600"/>
                    </a:solidFill>
                  </a:tcPr>
                </a:tc>
              </a:tr>
              <a:tr h="963434">
                <a:tc>
                  <a:txBody>
                    <a:bodyPr/>
                    <a:lstStyle/>
                    <a:p>
                      <a:pPr algn="ctr"/>
                      <a:r>
                        <a:rPr lang="en-US" sz="2000" b="0" baseline="0" noProof="0" dirty="0" smtClean="0">
                          <a:latin typeface="+mn-lt"/>
                        </a:rPr>
                        <a:t>Flexibility is offered by </a:t>
                      </a:r>
                      <a:r>
                        <a:rPr lang="en-US" sz="2000" b="1" baseline="0" noProof="0" dirty="0" smtClean="0">
                          <a:latin typeface="+mn-lt"/>
                        </a:rPr>
                        <a:t>sales/ aggregators</a:t>
                      </a:r>
                      <a:r>
                        <a:rPr lang="en-US" sz="2000" b="0" baseline="0" noProof="0" dirty="0" smtClean="0">
                          <a:latin typeface="+mn-lt"/>
                        </a:rPr>
                        <a:t> for market and</a:t>
                      </a:r>
                      <a:br>
                        <a:rPr lang="en-US" sz="2000" b="0" baseline="0" noProof="0" dirty="0" smtClean="0">
                          <a:latin typeface="+mn-lt"/>
                        </a:rPr>
                      </a:br>
                      <a:r>
                        <a:rPr lang="en-US" sz="2000" b="0" baseline="0" noProof="0" dirty="0" smtClean="0">
                          <a:latin typeface="+mn-lt"/>
                        </a:rPr>
                        <a:t>system oriented </a:t>
                      </a:r>
                      <a:r>
                        <a:rPr lang="en-US" sz="2000" b="1" baseline="0" noProof="0" dirty="0" smtClean="0">
                          <a:latin typeface="+mn-lt"/>
                        </a:rPr>
                        <a:t> portfolio </a:t>
                      </a:r>
                      <a:r>
                        <a:rPr lang="en-US" sz="2000" b="1" baseline="0" noProof="0" dirty="0" err="1" smtClean="0">
                          <a:latin typeface="+mn-lt"/>
                        </a:rPr>
                        <a:t>optimisation</a:t>
                      </a:r>
                      <a:r>
                        <a:rPr lang="en-US" sz="2000" b="0" baseline="0" noProof="0" dirty="0" smtClean="0">
                          <a:latin typeface="+mn-lt"/>
                        </a:rPr>
                        <a:t> and for </a:t>
                      </a:r>
                      <a:r>
                        <a:rPr lang="en-US" sz="2000" b="1" baseline="0" noProof="0" dirty="0" smtClean="0">
                          <a:latin typeface="+mn-lt"/>
                        </a:rPr>
                        <a:t>balancing</a:t>
                      </a:r>
                      <a:endParaRPr lang="en-US" sz="2000" b="1" noProof="0" dirty="0">
                        <a:latin typeface="+mn-lt"/>
                      </a:endParaRPr>
                    </a:p>
                  </a:txBody>
                  <a:tcPr marL="36000" marR="36000" marT="36000" marB="36000" anchor="ctr">
                    <a:lnL w="38100" cap="flat" cmpd="sng" algn="ctr">
                      <a:solidFill>
                        <a:srgbClr val="009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009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9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009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6C896"/>
                    </a:solidFill>
                  </a:tcPr>
                </a:tc>
              </a:tr>
              <a:tr h="389432">
                <a:tc>
                  <a:txBody>
                    <a:bodyPr/>
                    <a:lstStyle/>
                    <a:p>
                      <a:pPr algn="ctr"/>
                      <a:r>
                        <a:rPr lang="de-DE" sz="2800" b="1" dirty="0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Yellow</a:t>
                      </a:r>
                      <a:endParaRPr lang="de-DE" sz="2800" b="1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36000" marR="36000" marT="36000" marB="36000" anchor="ctr">
                    <a:lnL w="38100" cap="flat" cmpd="sng" algn="ctr">
                      <a:solidFill>
                        <a:srgbClr val="E6E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E6E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009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E6E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00"/>
                    </a:solidFill>
                  </a:tcPr>
                </a:tc>
              </a:tr>
              <a:tr h="973288">
                <a:tc>
                  <a:txBody>
                    <a:bodyPr/>
                    <a:lstStyle/>
                    <a:p>
                      <a:pPr algn="ctr"/>
                      <a:r>
                        <a:rPr lang="en-US" sz="2000" b="0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lexibility is requested by </a:t>
                      </a:r>
                      <a:r>
                        <a:rPr lang="en-US" sz="2000" b="1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SO</a:t>
                      </a:r>
                      <a:r>
                        <a:rPr lang="en-US" sz="2000" b="0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on a contractual  basis to</a:t>
                      </a:r>
                      <a:br>
                        <a:rPr lang="en-US" sz="2000" b="0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2000" b="1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void economic inefficient network expansion</a:t>
                      </a:r>
                      <a:endParaRPr lang="en-US" sz="2000" b="0" kern="1200" baseline="0" noProof="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E6E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E6E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E6E6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66"/>
                    </a:solidFill>
                  </a:tcPr>
                </a:tc>
              </a:tr>
              <a:tr h="389432">
                <a:tc>
                  <a:txBody>
                    <a:bodyPr/>
                    <a:lstStyle/>
                    <a:p>
                      <a:pPr algn="ctr"/>
                      <a:r>
                        <a:rPr lang="de-DE" sz="2800" b="1" dirty="0" err="1" smtClean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</a:rPr>
                        <a:t>Red</a:t>
                      </a:r>
                      <a:endParaRPr lang="de-DE" sz="2800" b="1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</a:endParaRPr>
                    </a:p>
                  </a:txBody>
                  <a:tcPr marL="36000" marR="36000" marT="36000" marB="36000" anchor="ctr">
                    <a:lnL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</a:tr>
              <a:tr h="963434">
                <a:tc>
                  <a:txBody>
                    <a:bodyPr/>
                    <a:lstStyle/>
                    <a:p>
                      <a:pPr algn="ctr"/>
                      <a:r>
                        <a:rPr lang="en-US" sz="2000" b="0" noProof="0" dirty="0" smtClean="0">
                          <a:latin typeface="+mn-lt"/>
                        </a:rPr>
                        <a:t>Flexibility is controlled by</a:t>
                      </a:r>
                      <a:r>
                        <a:rPr lang="en-US" sz="2000" b="1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SO</a:t>
                      </a:r>
                      <a:r>
                        <a:rPr lang="en-US" sz="2000" b="0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without contractual</a:t>
                      </a:r>
                      <a:br>
                        <a:rPr lang="en-US" sz="2000" b="0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2000" b="0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asis to</a:t>
                      </a:r>
                      <a:r>
                        <a:rPr lang="en-US" sz="2000" b="1" baseline="0" noProof="0" dirty="0" smtClean="0">
                          <a:latin typeface="+mn-lt"/>
                        </a:rPr>
                        <a:t> preserve</a:t>
                      </a:r>
                      <a:r>
                        <a:rPr lang="en-US" sz="2000" b="0" baseline="0" noProof="0" dirty="0" smtClean="0">
                          <a:latin typeface="+mn-lt"/>
                        </a:rPr>
                        <a:t> a</a:t>
                      </a:r>
                      <a:r>
                        <a:rPr lang="en-US" sz="2000" b="1" baseline="0" noProof="0" dirty="0" smtClean="0">
                          <a:latin typeface="+mn-lt"/>
                        </a:rPr>
                        <a:t> secure network operation</a:t>
                      </a:r>
                      <a:endParaRPr lang="en-US" sz="2000" b="0" noProof="0" dirty="0">
                        <a:latin typeface="+mn-lt"/>
                      </a:endParaRPr>
                    </a:p>
                  </a:txBody>
                  <a:tcPr marL="36000" marR="36000" marT="36000" marB="36000" anchor="ctr">
                    <a:lnL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B4B4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75124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Inhaltsplatzhalter 37"/>
          <p:cNvSpPr>
            <a:spLocks noGrp="1"/>
          </p:cNvSpPr>
          <p:nvPr>
            <p:ph idx="1"/>
          </p:nvPr>
        </p:nvSpPr>
        <p:spPr>
          <a:xfrm>
            <a:off x="251520" y="1268761"/>
            <a:ext cx="4248000" cy="4824536"/>
          </a:xfrm>
        </p:spPr>
        <p:txBody>
          <a:bodyPr/>
          <a:lstStyle/>
          <a:p>
            <a:pPr marL="271463" indent="-271463">
              <a:lnSpc>
                <a:spcPts val="2200"/>
              </a:lnSpc>
              <a:buFont typeface="Wingdings" panose="05000000000000000000" pitchFamily="2" charset="2"/>
              <a:buChar char="ü"/>
            </a:pPr>
            <a:r>
              <a:rPr lang="en-US" kern="1200" dirty="0" smtClean="0">
                <a:ea typeface="ＭＳ Ｐゴシック" pitchFamily="34" charset="-128"/>
                <a:cs typeface="+mn-cs"/>
              </a:rPr>
              <a:t>Optimize </a:t>
            </a:r>
            <a:r>
              <a:rPr lang="en-US" kern="1200" dirty="0">
                <a:ea typeface="ＭＳ Ｐゴシック" pitchFamily="34" charset="-128"/>
                <a:cs typeface="+mn-cs"/>
              </a:rPr>
              <a:t>grid operation especially within areas of high DER-share </a:t>
            </a:r>
            <a:r>
              <a:rPr lang="en-US" kern="1200" dirty="0" smtClean="0">
                <a:ea typeface="ＭＳ Ｐゴシック" pitchFamily="34" charset="-128"/>
                <a:cs typeface="+mn-cs"/>
              </a:rPr>
              <a:t>to resolve </a:t>
            </a:r>
            <a:r>
              <a:rPr lang="en-US" kern="1200" dirty="0">
                <a:ea typeface="ＭＳ Ｐゴシック" pitchFamily="34" charset="-128"/>
                <a:cs typeface="+mn-cs"/>
              </a:rPr>
              <a:t>network bottlenecks</a:t>
            </a:r>
          </a:p>
          <a:p>
            <a:pPr marL="271463" indent="-271463">
              <a:lnSpc>
                <a:spcPts val="2200"/>
              </a:lnSpc>
              <a:buFont typeface="Wingdings" panose="05000000000000000000" pitchFamily="2" charset="2"/>
              <a:buChar char="ü"/>
            </a:pPr>
            <a:r>
              <a:rPr lang="en-GB" kern="1200" dirty="0" smtClean="0">
                <a:ea typeface="ＭＳ Ｐゴシック" pitchFamily="34" charset="-128"/>
                <a:cs typeface="+mn-cs"/>
              </a:rPr>
              <a:t>Design grid &lt;-&gt; market interactions within the „orange regime“</a:t>
            </a:r>
          </a:p>
          <a:p>
            <a:pPr marL="271463" indent="-271463">
              <a:lnSpc>
                <a:spcPts val="2200"/>
              </a:lnSpc>
              <a:buFont typeface="Wingdings" panose="05000000000000000000" pitchFamily="2" charset="2"/>
              <a:buChar char="ü"/>
            </a:pPr>
            <a:r>
              <a:rPr lang="en-GB" kern="1200" dirty="0" smtClean="0">
                <a:ea typeface="ＭＳ Ｐゴシック" pitchFamily="34" charset="-128"/>
                <a:cs typeface="+mn-cs"/>
              </a:rPr>
              <a:t>Development of generic requirements for a mediating communication and service platform   </a:t>
            </a:r>
          </a:p>
          <a:p>
            <a:pPr marL="271463" indent="-271463">
              <a:lnSpc>
                <a:spcPts val="2200"/>
              </a:lnSpc>
              <a:buFont typeface="Wingdings" panose="05000000000000000000" pitchFamily="2" charset="2"/>
              <a:buChar char="ü"/>
            </a:pPr>
            <a:r>
              <a:rPr lang="en-US" kern="1200" dirty="0" smtClean="0">
                <a:ea typeface="ＭＳ Ｐゴシック" pitchFamily="34" charset="-128"/>
                <a:cs typeface="+mn-cs"/>
              </a:rPr>
              <a:t>Develop </a:t>
            </a:r>
            <a:r>
              <a:rPr lang="en-US" kern="1200" dirty="0">
                <a:ea typeface="ＭＳ Ｐゴシック" pitchFamily="34" charset="-128"/>
                <a:cs typeface="+mn-cs"/>
              </a:rPr>
              <a:t>and use flexibility for the distribution </a:t>
            </a:r>
            <a:r>
              <a:rPr lang="en-US" kern="1200" dirty="0" smtClean="0">
                <a:ea typeface="ＭＳ Ｐゴシック" pitchFamily="34" charset="-128"/>
                <a:cs typeface="+mn-cs"/>
              </a:rPr>
              <a:t>grid to minimize grid expansions</a:t>
            </a:r>
            <a:endParaRPr lang="en-US" kern="1200" dirty="0">
              <a:ea typeface="ＭＳ Ｐゴシック" pitchFamily="34" charset="-128"/>
              <a:cs typeface="+mn-cs"/>
            </a:endParaRPr>
          </a:p>
          <a:p>
            <a:pPr marL="271463" indent="-271463">
              <a:lnSpc>
                <a:spcPts val="2200"/>
              </a:lnSpc>
              <a:buFont typeface="Wingdings" panose="05000000000000000000" pitchFamily="2" charset="2"/>
              <a:buChar char="ü"/>
            </a:pPr>
            <a:r>
              <a:rPr lang="en-GB" kern="1200" dirty="0" smtClean="0">
                <a:ea typeface="ＭＳ Ｐゴシック" pitchFamily="34" charset="-128"/>
                <a:cs typeface="+mn-cs"/>
              </a:rPr>
              <a:t>Deliver recommendations for a future market design</a:t>
            </a:r>
            <a:endParaRPr lang="en-GB" kern="1200" dirty="0">
              <a:ea typeface="ＭＳ Ｐゴシック" pitchFamily="34" charset="-128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arget: </a:t>
            </a:r>
            <a:r>
              <a:rPr lang="de-DE" dirty="0" err="1" smtClean="0"/>
              <a:t>Creating</a:t>
            </a:r>
            <a:r>
              <a:rPr lang="de-DE" dirty="0" smtClean="0"/>
              <a:t> an operational </a:t>
            </a:r>
            <a:r>
              <a:rPr lang="de-DE" dirty="0" err="1" smtClean="0"/>
              <a:t>grid</a:t>
            </a:r>
            <a:r>
              <a:rPr lang="de-DE" dirty="0" smtClean="0"/>
              <a:t> &lt;-&gt; </a:t>
            </a:r>
            <a:r>
              <a:rPr lang="de-DE" dirty="0" err="1" smtClean="0"/>
              <a:t>market</a:t>
            </a:r>
            <a:r>
              <a:rPr lang="de-DE" dirty="0" smtClean="0"/>
              <a:t> </a:t>
            </a:r>
            <a:r>
              <a:rPr lang="de-DE" dirty="0" err="1" smtClean="0"/>
              <a:t>interaction</a:t>
            </a:r>
            <a:r>
              <a:rPr lang="de-DE" dirty="0" smtClean="0"/>
              <a:t> </a:t>
            </a:r>
            <a:r>
              <a:rPr lang="de-DE" dirty="0" err="1" smtClean="0"/>
              <a:t>model</a:t>
            </a:r>
            <a:r>
              <a:rPr lang="de-DE" dirty="0" smtClean="0"/>
              <a:t> </a:t>
            </a:r>
            <a:r>
              <a:rPr lang="de-DE" dirty="0" err="1" smtClean="0"/>
              <a:t>within</a:t>
            </a:r>
            <a:r>
              <a:rPr lang="de-DE" dirty="0" smtClean="0"/>
              <a:t> a </a:t>
            </a:r>
            <a:r>
              <a:rPr lang="de-DE" dirty="0" err="1" smtClean="0"/>
              <a:t>demanding</a:t>
            </a:r>
            <a:r>
              <a:rPr lang="de-DE" dirty="0" smtClean="0"/>
              <a:t> </a:t>
            </a:r>
            <a:r>
              <a:rPr lang="de-DE" dirty="0" err="1" smtClean="0"/>
              <a:t>environment</a:t>
            </a:r>
            <a:endParaRPr lang="de-DE" dirty="0"/>
          </a:p>
        </p:txBody>
      </p:sp>
      <p:grpSp>
        <p:nvGrpSpPr>
          <p:cNvPr id="105" name="Gruppieren 104"/>
          <p:cNvGrpSpPr/>
          <p:nvPr/>
        </p:nvGrpSpPr>
        <p:grpSpPr>
          <a:xfrm>
            <a:off x="4680012" y="1304764"/>
            <a:ext cx="4176464" cy="4752528"/>
            <a:chOff x="4680012" y="1304764"/>
            <a:chExt cx="4176464" cy="4752528"/>
          </a:xfrm>
        </p:grpSpPr>
        <p:grpSp>
          <p:nvGrpSpPr>
            <p:cNvPr id="67" name="Gruppieren 66"/>
            <p:cNvGrpSpPr/>
            <p:nvPr/>
          </p:nvGrpSpPr>
          <p:grpSpPr>
            <a:xfrm>
              <a:off x="6300192" y="2744924"/>
              <a:ext cx="936104" cy="1872233"/>
              <a:chOff x="4463987" y="1952835"/>
              <a:chExt cx="936104" cy="1872233"/>
            </a:xfrm>
          </p:grpSpPr>
          <p:sp>
            <p:nvSpPr>
              <p:cNvPr id="51" name="Rechteck 50"/>
              <p:cNvSpPr/>
              <p:nvPr/>
            </p:nvSpPr>
            <p:spPr bwMode="auto">
              <a:xfrm>
                <a:off x="4716122" y="1952835"/>
                <a:ext cx="431942" cy="1296000"/>
              </a:xfrm>
              <a:prstGeom prst="rect">
                <a:avLst/>
              </a:prstGeom>
              <a:solidFill>
                <a:schemeClr val="accent1"/>
              </a:solidFill>
              <a:ln w="3810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23" charset="0"/>
                </a:endParaRPr>
              </a:p>
            </p:txBody>
          </p:sp>
          <p:sp>
            <p:nvSpPr>
              <p:cNvPr id="47" name="Ellipse 46"/>
              <p:cNvSpPr/>
              <p:nvPr/>
            </p:nvSpPr>
            <p:spPr bwMode="auto">
              <a:xfrm>
                <a:off x="4752108" y="1988840"/>
                <a:ext cx="359952" cy="359987"/>
              </a:xfrm>
              <a:prstGeom prst="ellipse">
                <a:avLst/>
              </a:prstGeom>
              <a:solidFill>
                <a:srgbClr val="C00000"/>
              </a:solidFill>
              <a:ln w="3810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23" charset="0"/>
                </a:endParaRPr>
              </a:p>
            </p:txBody>
          </p:sp>
          <p:sp>
            <p:nvSpPr>
              <p:cNvPr id="49" name="Ellipse 48"/>
              <p:cNvSpPr/>
              <p:nvPr/>
            </p:nvSpPr>
            <p:spPr bwMode="auto">
              <a:xfrm>
                <a:off x="4752108" y="2852989"/>
                <a:ext cx="359952" cy="359987"/>
              </a:xfrm>
              <a:prstGeom prst="ellipse">
                <a:avLst/>
              </a:prstGeom>
              <a:solidFill>
                <a:schemeClr val="accent3"/>
              </a:solidFill>
              <a:ln w="3810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23" charset="0"/>
                </a:endParaRPr>
              </a:p>
            </p:txBody>
          </p:sp>
          <p:sp>
            <p:nvSpPr>
              <p:cNvPr id="65" name="Stern mit 16 Zacken 64"/>
              <p:cNvSpPr/>
              <p:nvPr/>
            </p:nvSpPr>
            <p:spPr bwMode="auto">
              <a:xfrm>
                <a:off x="4608004" y="2276872"/>
                <a:ext cx="648000" cy="648000"/>
              </a:xfrm>
              <a:prstGeom prst="star16">
                <a:avLst>
                  <a:gd name="adj" fmla="val 23126"/>
                </a:avLst>
              </a:prstGeom>
              <a:solidFill>
                <a:schemeClr val="bg2"/>
              </a:solidFill>
              <a:ln w="63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indent="-266700" algn="ctr">
                  <a:spcAft>
                    <a:spcPct val="100000"/>
                  </a:spcAft>
                  <a:buClr>
                    <a:schemeClr val="accent1"/>
                  </a:buClr>
                  <a:buFont typeface="Arial" pitchFamily="34" charset="0"/>
                  <a:buChar char="&gt;"/>
                </a:pPr>
                <a:endParaRPr lang="de-DE" sz="2000">
                  <a:latin typeface="Arial" pitchFamily="23" charset="0"/>
                </a:endParaRPr>
              </a:p>
            </p:txBody>
          </p:sp>
          <p:sp>
            <p:nvSpPr>
              <p:cNvPr id="48" name="Ellipse 47"/>
              <p:cNvSpPr/>
              <p:nvPr/>
            </p:nvSpPr>
            <p:spPr bwMode="auto">
              <a:xfrm>
                <a:off x="4752108" y="2421006"/>
                <a:ext cx="359952" cy="359987"/>
              </a:xfrm>
              <a:prstGeom prst="ellipse">
                <a:avLst/>
              </a:prstGeom>
              <a:solidFill>
                <a:schemeClr val="bg2"/>
              </a:solidFill>
              <a:ln w="3810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23" charset="0"/>
                </a:endParaRPr>
              </a:p>
            </p:txBody>
          </p:sp>
          <p:sp>
            <p:nvSpPr>
              <p:cNvPr id="52" name="Rechtwinkliges Dreieck 51"/>
              <p:cNvSpPr/>
              <p:nvPr/>
            </p:nvSpPr>
            <p:spPr bwMode="auto">
              <a:xfrm flipV="1">
                <a:off x="5220115" y="1988840"/>
                <a:ext cx="179976" cy="359987"/>
              </a:xfrm>
              <a:prstGeom prst="rtTriangle">
                <a:avLst/>
              </a:prstGeom>
              <a:solidFill>
                <a:schemeClr val="accent1"/>
              </a:solidFill>
              <a:ln w="3810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23" charset="0"/>
                </a:endParaRPr>
              </a:p>
            </p:txBody>
          </p:sp>
          <p:sp>
            <p:nvSpPr>
              <p:cNvPr id="53" name="Rechtwinkliges Dreieck 52"/>
              <p:cNvSpPr/>
              <p:nvPr/>
            </p:nvSpPr>
            <p:spPr bwMode="auto">
              <a:xfrm flipV="1">
                <a:off x="5220115" y="2420888"/>
                <a:ext cx="179976" cy="359987"/>
              </a:xfrm>
              <a:prstGeom prst="rtTriangle">
                <a:avLst/>
              </a:prstGeom>
              <a:solidFill>
                <a:schemeClr val="accent1"/>
              </a:solidFill>
              <a:ln w="3810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23" charset="0"/>
                </a:endParaRPr>
              </a:p>
            </p:txBody>
          </p:sp>
          <p:sp>
            <p:nvSpPr>
              <p:cNvPr id="54" name="Rechtwinkliges Dreieck 53"/>
              <p:cNvSpPr/>
              <p:nvPr/>
            </p:nvSpPr>
            <p:spPr bwMode="auto">
              <a:xfrm flipV="1">
                <a:off x="5220115" y="2852989"/>
                <a:ext cx="179976" cy="359987"/>
              </a:xfrm>
              <a:prstGeom prst="rtTriangle">
                <a:avLst/>
              </a:prstGeom>
              <a:solidFill>
                <a:schemeClr val="accent1"/>
              </a:solidFill>
              <a:ln w="3810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23" charset="0"/>
                </a:endParaRPr>
              </a:p>
            </p:txBody>
          </p:sp>
          <p:sp>
            <p:nvSpPr>
              <p:cNvPr id="55" name="Rechtwinkliges Dreieck 54"/>
              <p:cNvSpPr/>
              <p:nvPr/>
            </p:nvSpPr>
            <p:spPr bwMode="auto">
              <a:xfrm flipH="1" flipV="1">
                <a:off x="4463988" y="1988840"/>
                <a:ext cx="179976" cy="359987"/>
              </a:xfrm>
              <a:prstGeom prst="rtTriangle">
                <a:avLst/>
              </a:prstGeom>
              <a:solidFill>
                <a:schemeClr val="accent1"/>
              </a:solidFill>
              <a:ln w="3810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23" charset="0"/>
                </a:endParaRPr>
              </a:p>
            </p:txBody>
          </p:sp>
          <p:sp>
            <p:nvSpPr>
              <p:cNvPr id="56" name="Rechtwinkliges Dreieck 55"/>
              <p:cNvSpPr/>
              <p:nvPr/>
            </p:nvSpPr>
            <p:spPr bwMode="auto">
              <a:xfrm flipH="1" flipV="1">
                <a:off x="4463988" y="2421046"/>
                <a:ext cx="179976" cy="359987"/>
              </a:xfrm>
              <a:prstGeom prst="rtTriangle">
                <a:avLst/>
              </a:prstGeom>
              <a:solidFill>
                <a:schemeClr val="accent1"/>
              </a:solidFill>
              <a:ln w="3810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23" charset="0"/>
                </a:endParaRPr>
              </a:p>
            </p:txBody>
          </p:sp>
          <p:sp>
            <p:nvSpPr>
              <p:cNvPr id="57" name="Rechtwinkliges Dreieck 56"/>
              <p:cNvSpPr/>
              <p:nvPr/>
            </p:nvSpPr>
            <p:spPr bwMode="auto">
              <a:xfrm flipH="1" flipV="1">
                <a:off x="4463987" y="2852989"/>
                <a:ext cx="179976" cy="359987"/>
              </a:xfrm>
              <a:prstGeom prst="rtTriangle">
                <a:avLst/>
              </a:prstGeom>
              <a:solidFill>
                <a:schemeClr val="accent1"/>
              </a:solidFill>
              <a:ln w="3810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23" charset="0"/>
                </a:endParaRPr>
              </a:p>
            </p:txBody>
          </p:sp>
          <p:sp>
            <p:nvSpPr>
              <p:cNvPr id="58" name="Rechteck 57"/>
              <p:cNvSpPr/>
              <p:nvPr/>
            </p:nvSpPr>
            <p:spPr bwMode="auto">
              <a:xfrm>
                <a:off x="4788018" y="3321068"/>
                <a:ext cx="287961" cy="504000"/>
              </a:xfrm>
              <a:prstGeom prst="rect">
                <a:avLst/>
              </a:prstGeom>
              <a:solidFill>
                <a:schemeClr val="accent1"/>
              </a:solidFill>
              <a:ln w="3810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tabLst/>
                </a:pPr>
                <a:endParaRPr kumimoji="0" lang="de-DE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23" charset="0"/>
                </a:endParaRPr>
              </a:p>
            </p:txBody>
          </p:sp>
        </p:grpSp>
        <p:sp>
          <p:nvSpPr>
            <p:cNvPr id="69" name="Nach rechts gekrümmter Pfeil 68"/>
            <p:cNvSpPr/>
            <p:nvPr/>
          </p:nvSpPr>
          <p:spPr bwMode="auto">
            <a:xfrm flipV="1">
              <a:off x="5328224" y="1520788"/>
              <a:ext cx="1260000" cy="4032000"/>
            </a:xfrm>
            <a:prstGeom prst="curvedRightArrow">
              <a:avLst>
                <a:gd name="adj1" fmla="val 29702"/>
                <a:gd name="adj2" fmla="val 72900"/>
                <a:gd name="adj3" fmla="val 35097"/>
              </a:avLst>
            </a:prstGeom>
            <a:solidFill>
              <a:schemeClr val="accent1"/>
            </a:solidFill>
            <a:ln w="63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266700" marR="0" indent="-26670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100000"/>
                </a:spcAft>
                <a:buClr>
                  <a:schemeClr val="accent1"/>
                </a:buClr>
                <a:buSzTx/>
                <a:buFont typeface="Arial" pitchFamily="34" charset="0"/>
                <a:buChar char="&gt;"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23" charset="0"/>
              </a:endParaRPr>
            </a:p>
          </p:txBody>
        </p:sp>
        <p:sp>
          <p:nvSpPr>
            <p:cNvPr id="89" name="Nach rechts gekrümmter Pfeil 88"/>
            <p:cNvSpPr/>
            <p:nvPr/>
          </p:nvSpPr>
          <p:spPr bwMode="auto">
            <a:xfrm rot="10800000" flipV="1">
              <a:off x="6948265" y="1809268"/>
              <a:ext cx="1260000" cy="4032000"/>
            </a:xfrm>
            <a:prstGeom prst="curvedRightArrow">
              <a:avLst>
                <a:gd name="adj1" fmla="val 29702"/>
                <a:gd name="adj2" fmla="val 72900"/>
                <a:gd name="adj3" fmla="val 35097"/>
              </a:avLst>
            </a:prstGeom>
            <a:solidFill>
              <a:schemeClr val="accent1"/>
            </a:solidFill>
            <a:ln w="635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266700" marR="0" indent="-26670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100000"/>
                </a:spcAft>
                <a:buClr>
                  <a:schemeClr val="accent1"/>
                </a:buClr>
                <a:buSzTx/>
                <a:buFont typeface="Arial" pitchFamily="34" charset="0"/>
                <a:buChar char="&gt;"/>
                <a:tabLst/>
              </a:pPr>
              <a:endParaRPr kumimoji="0" lang="de-DE" sz="2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23" charset="0"/>
              </a:endParaRPr>
            </a:p>
          </p:txBody>
        </p:sp>
        <p:pic>
          <p:nvPicPr>
            <p:cNvPr id="36" name="Picture 2" descr="C:\Users\r892192\Desktop\blob.jpg"/>
            <p:cNvPicPr>
              <a:picLocks noChangeArrowheads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779" r="24704"/>
            <a:stretch/>
          </p:blipFill>
          <p:spPr bwMode="auto">
            <a:xfrm>
              <a:off x="6696236" y="1304764"/>
              <a:ext cx="2160000" cy="1224000"/>
            </a:xfrm>
            <a:prstGeom prst="rect">
              <a:avLst/>
            </a:prstGeom>
            <a:noFill/>
            <a:ln w="38100">
              <a:solidFill>
                <a:schemeClr val="accent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6" name="Picture 5" descr="C:\Users\R884604\AppData\Local\Microsoft\Windows\Temporary Internet Files\Content.Outlook\J91C4O6R\Netzleitstelle.jpg"/>
            <p:cNvPicPr>
              <a:picLocks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5380"/>
            <a:stretch/>
          </p:blipFill>
          <p:spPr bwMode="auto">
            <a:xfrm>
              <a:off x="4680012" y="4833292"/>
              <a:ext cx="2160000" cy="1224000"/>
            </a:xfrm>
            <a:prstGeom prst="rect">
              <a:avLst/>
            </a:prstGeom>
            <a:noFill/>
            <a:ln w="38100">
              <a:solidFill>
                <a:schemeClr val="accent1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98" name="Gruppieren 97"/>
            <p:cNvGrpSpPr/>
            <p:nvPr/>
          </p:nvGrpSpPr>
          <p:grpSpPr>
            <a:xfrm>
              <a:off x="4752020" y="3212976"/>
              <a:ext cx="1080000" cy="792000"/>
              <a:chOff x="1403648" y="1916764"/>
              <a:chExt cx="3240000" cy="2160000"/>
            </a:xfrm>
          </p:grpSpPr>
          <p:sp>
            <p:nvSpPr>
              <p:cNvPr id="43" name="Flussdiagramm: Auszug 42"/>
              <p:cNvSpPr/>
              <p:nvPr/>
            </p:nvSpPr>
            <p:spPr bwMode="auto">
              <a:xfrm>
                <a:off x="1403648" y="1916764"/>
                <a:ext cx="3240000" cy="863885"/>
              </a:xfrm>
              <a:prstGeom prst="flowChartExtract">
                <a:avLst/>
              </a:prstGeom>
              <a:solidFill>
                <a:schemeClr val="bg1">
                  <a:lumMod val="85000"/>
                </a:schemeClr>
              </a:solidFill>
              <a:ln w="3810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23" charset="0"/>
                </a:endParaRPr>
              </a:p>
            </p:txBody>
          </p:sp>
          <p:sp>
            <p:nvSpPr>
              <p:cNvPr id="97" name="Rechteck 96"/>
              <p:cNvSpPr/>
              <p:nvPr/>
            </p:nvSpPr>
            <p:spPr bwMode="auto">
              <a:xfrm>
                <a:off x="1475657" y="2204865"/>
                <a:ext cx="3096345" cy="1800000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  <a:ln w="63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23" charset="0"/>
                </a:endParaRPr>
              </a:p>
            </p:txBody>
          </p:sp>
          <p:sp>
            <p:nvSpPr>
              <p:cNvPr id="42" name="Rechteck 41"/>
              <p:cNvSpPr/>
              <p:nvPr/>
            </p:nvSpPr>
            <p:spPr bwMode="auto">
              <a:xfrm>
                <a:off x="1403648" y="2780936"/>
                <a:ext cx="3240000" cy="1295828"/>
              </a:xfrm>
              <a:custGeom>
                <a:avLst/>
                <a:gdLst>
                  <a:gd name="connsiteX0" fmla="*/ 0 w 3240000"/>
                  <a:gd name="connsiteY0" fmla="*/ 0 h 1620000"/>
                  <a:gd name="connsiteX1" fmla="*/ 3240000 w 3240000"/>
                  <a:gd name="connsiteY1" fmla="*/ 0 h 1620000"/>
                  <a:gd name="connsiteX2" fmla="*/ 3240000 w 3240000"/>
                  <a:gd name="connsiteY2" fmla="*/ 1620000 h 1620000"/>
                  <a:gd name="connsiteX3" fmla="*/ 0 w 3240000"/>
                  <a:gd name="connsiteY3" fmla="*/ 1620000 h 1620000"/>
                  <a:gd name="connsiteX4" fmla="*/ 0 w 3240000"/>
                  <a:gd name="connsiteY4" fmla="*/ 0 h 1620000"/>
                  <a:gd name="connsiteX0" fmla="*/ 0 w 3240000"/>
                  <a:gd name="connsiteY0" fmla="*/ 1 h 1620001"/>
                  <a:gd name="connsiteX1" fmla="*/ 1622296 w 3240000"/>
                  <a:gd name="connsiteY1" fmla="*/ 1075962 h 1620001"/>
                  <a:gd name="connsiteX2" fmla="*/ 3240000 w 3240000"/>
                  <a:gd name="connsiteY2" fmla="*/ 1 h 1620001"/>
                  <a:gd name="connsiteX3" fmla="*/ 3240000 w 3240000"/>
                  <a:gd name="connsiteY3" fmla="*/ 1620001 h 1620001"/>
                  <a:gd name="connsiteX4" fmla="*/ 0 w 3240000"/>
                  <a:gd name="connsiteY4" fmla="*/ 1620001 h 1620001"/>
                  <a:gd name="connsiteX5" fmla="*/ 0 w 3240000"/>
                  <a:gd name="connsiteY5" fmla="*/ 1 h 1620001"/>
                  <a:gd name="connsiteX0" fmla="*/ 0 w 3240000"/>
                  <a:gd name="connsiteY0" fmla="*/ 0 h 1620000"/>
                  <a:gd name="connsiteX1" fmla="*/ 1622296 w 3240000"/>
                  <a:gd name="connsiteY1" fmla="*/ 1075961 h 1620000"/>
                  <a:gd name="connsiteX2" fmla="*/ 3240000 w 3240000"/>
                  <a:gd name="connsiteY2" fmla="*/ 0 h 1620000"/>
                  <a:gd name="connsiteX3" fmla="*/ 3240000 w 3240000"/>
                  <a:gd name="connsiteY3" fmla="*/ 1620000 h 1620000"/>
                  <a:gd name="connsiteX4" fmla="*/ 0 w 3240000"/>
                  <a:gd name="connsiteY4" fmla="*/ 1620000 h 1620000"/>
                  <a:gd name="connsiteX5" fmla="*/ 0 w 3240000"/>
                  <a:gd name="connsiteY5" fmla="*/ 0 h 162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240000" h="1620000">
                    <a:moveTo>
                      <a:pt x="0" y="0"/>
                    </a:moveTo>
                    <a:lnTo>
                      <a:pt x="1622296" y="1075961"/>
                    </a:lnTo>
                    <a:lnTo>
                      <a:pt x="3240000" y="0"/>
                    </a:lnTo>
                    <a:lnTo>
                      <a:pt x="3240000" y="1620000"/>
                    </a:lnTo>
                    <a:lnTo>
                      <a:pt x="0" y="16200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810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23" charset="0"/>
                </a:endParaRPr>
              </a:p>
            </p:txBody>
          </p:sp>
        </p:grpSp>
        <p:grpSp>
          <p:nvGrpSpPr>
            <p:cNvPr id="99" name="Gruppieren 98"/>
            <p:cNvGrpSpPr/>
            <p:nvPr/>
          </p:nvGrpSpPr>
          <p:grpSpPr>
            <a:xfrm>
              <a:off x="7704468" y="3212976"/>
              <a:ext cx="1080000" cy="792000"/>
              <a:chOff x="2051720" y="1916764"/>
              <a:chExt cx="3240000" cy="2160000"/>
            </a:xfrm>
          </p:grpSpPr>
          <p:sp>
            <p:nvSpPr>
              <p:cNvPr id="100" name="Flussdiagramm: Auszug 99"/>
              <p:cNvSpPr/>
              <p:nvPr/>
            </p:nvSpPr>
            <p:spPr bwMode="auto">
              <a:xfrm>
                <a:off x="2051720" y="1916764"/>
                <a:ext cx="3240000" cy="863885"/>
              </a:xfrm>
              <a:prstGeom prst="flowChartExtract">
                <a:avLst/>
              </a:prstGeom>
              <a:solidFill>
                <a:schemeClr val="bg1">
                  <a:lumMod val="85000"/>
                </a:schemeClr>
              </a:solidFill>
              <a:ln w="3810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23" charset="0"/>
                </a:endParaRPr>
              </a:p>
            </p:txBody>
          </p:sp>
          <p:sp>
            <p:nvSpPr>
              <p:cNvPr id="101" name="Rechteck 100"/>
              <p:cNvSpPr/>
              <p:nvPr/>
            </p:nvSpPr>
            <p:spPr bwMode="auto">
              <a:xfrm>
                <a:off x="2123729" y="2204865"/>
                <a:ext cx="3096345" cy="1800000"/>
              </a:xfrm>
              <a:prstGeom prst="rect">
                <a:avLst/>
              </a:prstGeom>
              <a:blipFill dpi="0" rotWithShape="1">
                <a:blip r:embed="rId5"/>
                <a:srcRect/>
                <a:stretch>
                  <a:fillRect t="-10000" r="-10000" b="20000"/>
                </a:stretch>
              </a:blipFill>
              <a:ln w="635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23" charset="0"/>
                </a:endParaRPr>
              </a:p>
            </p:txBody>
          </p:sp>
          <p:sp>
            <p:nvSpPr>
              <p:cNvPr id="102" name="Rechteck 41"/>
              <p:cNvSpPr/>
              <p:nvPr/>
            </p:nvSpPr>
            <p:spPr bwMode="auto">
              <a:xfrm>
                <a:off x="2051720" y="2780936"/>
                <a:ext cx="3240000" cy="1295828"/>
              </a:xfrm>
              <a:custGeom>
                <a:avLst/>
                <a:gdLst>
                  <a:gd name="connsiteX0" fmla="*/ 0 w 3240000"/>
                  <a:gd name="connsiteY0" fmla="*/ 0 h 1620000"/>
                  <a:gd name="connsiteX1" fmla="*/ 3240000 w 3240000"/>
                  <a:gd name="connsiteY1" fmla="*/ 0 h 1620000"/>
                  <a:gd name="connsiteX2" fmla="*/ 3240000 w 3240000"/>
                  <a:gd name="connsiteY2" fmla="*/ 1620000 h 1620000"/>
                  <a:gd name="connsiteX3" fmla="*/ 0 w 3240000"/>
                  <a:gd name="connsiteY3" fmla="*/ 1620000 h 1620000"/>
                  <a:gd name="connsiteX4" fmla="*/ 0 w 3240000"/>
                  <a:gd name="connsiteY4" fmla="*/ 0 h 1620000"/>
                  <a:gd name="connsiteX0" fmla="*/ 0 w 3240000"/>
                  <a:gd name="connsiteY0" fmla="*/ 1 h 1620001"/>
                  <a:gd name="connsiteX1" fmla="*/ 1622296 w 3240000"/>
                  <a:gd name="connsiteY1" fmla="*/ 1075962 h 1620001"/>
                  <a:gd name="connsiteX2" fmla="*/ 3240000 w 3240000"/>
                  <a:gd name="connsiteY2" fmla="*/ 1 h 1620001"/>
                  <a:gd name="connsiteX3" fmla="*/ 3240000 w 3240000"/>
                  <a:gd name="connsiteY3" fmla="*/ 1620001 h 1620001"/>
                  <a:gd name="connsiteX4" fmla="*/ 0 w 3240000"/>
                  <a:gd name="connsiteY4" fmla="*/ 1620001 h 1620001"/>
                  <a:gd name="connsiteX5" fmla="*/ 0 w 3240000"/>
                  <a:gd name="connsiteY5" fmla="*/ 1 h 1620001"/>
                  <a:gd name="connsiteX0" fmla="*/ 0 w 3240000"/>
                  <a:gd name="connsiteY0" fmla="*/ 0 h 1620000"/>
                  <a:gd name="connsiteX1" fmla="*/ 1622296 w 3240000"/>
                  <a:gd name="connsiteY1" fmla="*/ 1075961 h 1620000"/>
                  <a:gd name="connsiteX2" fmla="*/ 3240000 w 3240000"/>
                  <a:gd name="connsiteY2" fmla="*/ 0 h 1620000"/>
                  <a:gd name="connsiteX3" fmla="*/ 3240000 w 3240000"/>
                  <a:gd name="connsiteY3" fmla="*/ 1620000 h 1620000"/>
                  <a:gd name="connsiteX4" fmla="*/ 0 w 3240000"/>
                  <a:gd name="connsiteY4" fmla="*/ 1620000 h 1620000"/>
                  <a:gd name="connsiteX5" fmla="*/ 0 w 3240000"/>
                  <a:gd name="connsiteY5" fmla="*/ 0 h 162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240000" h="1620000">
                    <a:moveTo>
                      <a:pt x="0" y="0"/>
                    </a:moveTo>
                    <a:lnTo>
                      <a:pt x="1622296" y="1075961"/>
                    </a:lnTo>
                    <a:lnTo>
                      <a:pt x="3240000" y="0"/>
                    </a:lnTo>
                    <a:lnTo>
                      <a:pt x="3240000" y="1620000"/>
                    </a:lnTo>
                    <a:lnTo>
                      <a:pt x="0" y="162000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3810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23" charset="0"/>
                </a:endParaRPr>
              </a:p>
            </p:txBody>
          </p:sp>
        </p:grpSp>
        <p:sp>
          <p:nvSpPr>
            <p:cNvPr id="103" name="Textfeld 102"/>
            <p:cNvSpPr txBox="1"/>
            <p:nvPr/>
          </p:nvSpPr>
          <p:spPr>
            <a:xfrm>
              <a:off x="4680252" y="4833236"/>
              <a:ext cx="1080000" cy="360000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de-DE" sz="2000" b="1" dirty="0" smtClean="0">
                  <a:solidFill>
                    <a:schemeClr val="accent1"/>
                  </a:solidFill>
                  <a:effectLst>
                    <a:glow rad="127000">
                      <a:schemeClr val="bg1"/>
                    </a:glow>
                  </a:effectLst>
                </a:rPr>
                <a:t>GRID</a:t>
              </a:r>
            </a:p>
          </p:txBody>
        </p:sp>
        <p:sp>
          <p:nvSpPr>
            <p:cNvPr id="104" name="Textfeld 103"/>
            <p:cNvSpPr txBox="1"/>
            <p:nvPr/>
          </p:nvSpPr>
          <p:spPr>
            <a:xfrm>
              <a:off x="7620459" y="1304804"/>
              <a:ext cx="1236017" cy="360000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90000" tIns="46800" rIns="90000" bIns="468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2000" b="1" dirty="0" smtClean="0">
                  <a:solidFill>
                    <a:schemeClr val="accent1"/>
                  </a:solidFill>
                  <a:effectLst>
                    <a:glow rad="127000">
                      <a:schemeClr val="bg1"/>
                    </a:glow>
                  </a:effectLst>
                </a:rPr>
                <a:t>MARKE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92360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/>
          <p:cNvGrpSpPr>
            <a:grpSpLocks noChangeAspect="1"/>
          </p:cNvGrpSpPr>
          <p:nvPr/>
        </p:nvGrpSpPr>
        <p:grpSpPr>
          <a:xfrm>
            <a:off x="627286" y="1268760"/>
            <a:ext cx="7889428" cy="4824000"/>
            <a:chOff x="215176" y="871911"/>
            <a:chExt cx="8244916" cy="5041365"/>
          </a:xfrm>
        </p:grpSpPr>
        <p:grpSp>
          <p:nvGrpSpPr>
            <p:cNvPr id="6" name="Gruppieren 5"/>
            <p:cNvGrpSpPr/>
            <p:nvPr/>
          </p:nvGrpSpPr>
          <p:grpSpPr>
            <a:xfrm>
              <a:off x="215176" y="871911"/>
              <a:ext cx="1440716" cy="2159320"/>
              <a:chOff x="287524" y="512676"/>
              <a:chExt cx="1440716" cy="2159320"/>
            </a:xfrm>
          </p:grpSpPr>
          <p:sp>
            <p:nvSpPr>
              <p:cNvPr id="68" name="Rechteck 67"/>
              <p:cNvSpPr/>
              <p:nvPr/>
            </p:nvSpPr>
            <p:spPr bwMode="auto">
              <a:xfrm>
                <a:off x="288241" y="872675"/>
                <a:ext cx="1439999" cy="1799321"/>
              </a:xfrm>
              <a:prstGeom prst="rect">
                <a:avLst/>
              </a:prstGeom>
              <a:solidFill>
                <a:schemeClr val="bg1"/>
              </a:solidFill>
              <a:ln w="38100" cap="flat" cmpd="sng" algn="ctr">
                <a:solidFill>
                  <a:srgbClr val="89BA17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spcAft>
                    <a:spcPct val="100000"/>
                  </a:spcAft>
                  <a:buClr>
                    <a:schemeClr val="accent1"/>
                  </a:buClr>
                  <a:buFont typeface="Arial" charset="0"/>
                  <a:buNone/>
                </a:pPr>
                <a:endParaRPr lang="de-DE">
                  <a:latin typeface="Calibri" panose="020F0502020204030204" pitchFamily="34" charset="0"/>
                </a:endParaRPr>
              </a:p>
            </p:txBody>
          </p:sp>
          <p:sp>
            <p:nvSpPr>
              <p:cNvPr id="69" name="Rechteck 68"/>
              <p:cNvSpPr/>
              <p:nvPr/>
            </p:nvSpPr>
            <p:spPr bwMode="auto">
              <a:xfrm>
                <a:off x="287524" y="512676"/>
                <a:ext cx="1440000" cy="360000"/>
              </a:xfrm>
              <a:prstGeom prst="rect">
                <a:avLst/>
              </a:prstGeom>
              <a:solidFill>
                <a:srgbClr val="89BA17"/>
              </a:solidFill>
              <a:ln w="38100" cap="flat" cmpd="sng" algn="ctr">
                <a:solidFill>
                  <a:srgbClr val="89BA17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0" tIns="0" rIns="0" bIns="0" numCol="1" rtlCol="0" anchor="ctr" anchorCtr="1" compatLnSpc="1">
                <a:prstTxWarp prst="textNoShape">
                  <a:avLst/>
                </a:prstTxWarp>
                <a:normAutofit/>
              </a:bodyPr>
              <a:lstStyle/>
              <a:p>
                <a:pPr algn="ctr">
                  <a:defRPr/>
                </a:pPr>
                <a:r>
                  <a:rPr lang="de-DE" altLang="de-DE" sz="1100" b="1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alibri" panose="020F0502020204030204" pitchFamily="34" charset="0"/>
                  </a:rPr>
                  <a:t>SYSTEM- &amp; </a:t>
                </a:r>
                <a:endParaRPr lang="de-DE" altLang="de-DE" sz="1100" b="1" dirty="0" smtClean="0">
                  <a:solidFill>
                    <a:srgbClr val="FFFFFF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 pitchFamily="34" charset="0"/>
                </a:endParaRPr>
              </a:p>
              <a:p>
                <a:pPr algn="ctr">
                  <a:defRPr/>
                </a:pPr>
                <a:r>
                  <a:rPr lang="de-DE" altLang="de-DE" sz="1100" b="1" dirty="0" smtClean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alibri" panose="020F0502020204030204" pitchFamily="34" charset="0"/>
                  </a:rPr>
                  <a:t>ENVIRONMENTAL </a:t>
                </a:r>
                <a:r>
                  <a:rPr lang="de-DE" altLang="de-DE" sz="1100" b="1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alibri" panose="020F0502020204030204" pitchFamily="34" charset="0"/>
                  </a:rPr>
                  <a:t>DATA</a:t>
                </a:r>
                <a:endParaRPr lang="de-DE" altLang="de-DE" sz="16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 pitchFamily="34" charset="0"/>
                </a:endParaRPr>
              </a:p>
            </p:txBody>
          </p:sp>
        </p:grpSp>
        <p:grpSp>
          <p:nvGrpSpPr>
            <p:cNvPr id="7" name="Gruppieren 6"/>
            <p:cNvGrpSpPr/>
            <p:nvPr/>
          </p:nvGrpSpPr>
          <p:grpSpPr>
            <a:xfrm>
              <a:off x="2015376" y="3392191"/>
              <a:ext cx="2880320" cy="2519361"/>
              <a:chOff x="2087724" y="3032956"/>
              <a:chExt cx="2880320" cy="2519361"/>
            </a:xfrm>
          </p:grpSpPr>
          <p:sp>
            <p:nvSpPr>
              <p:cNvPr id="66" name="Rechteck 65"/>
              <p:cNvSpPr/>
              <p:nvPr/>
            </p:nvSpPr>
            <p:spPr bwMode="auto">
              <a:xfrm>
                <a:off x="2087724" y="5192317"/>
                <a:ext cx="2880000" cy="360000"/>
              </a:xfrm>
              <a:prstGeom prst="rect">
                <a:avLst/>
              </a:prstGeom>
              <a:solidFill>
                <a:srgbClr val="89BA17"/>
              </a:solidFill>
              <a:ln w="38100" cap="flat" cmpd="sng" algn="ctr">
                <a:solidFill>
                  <a:srgbClr val="89BA17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0" tIns="0" rIns="0" bIns="0" numCol="1" rtlCol="0" anchor="ctr" anchorCtr="1" compatLnSpc="1">
                <a:prstTxWarp prst="textNoShape">
                  <a:avLst/>
                </a:prstTxWarp>
                <a:normAutofit/>
              </a:bodyPr>
              <a:lstStyle/>
              <a:p>
                <a:pPr algn="ctr"/>
                <a:r>
                  <a:rPr lang="de-DE" sz="1600" b="1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alibri" panose="020F0502020204030204" pitchFamily="34" charset="0"/>
                    <a:cs typeface="Arial" pitchFamily="34" charset="0"/>
                  </a:rPr>
                  <a:t>CONGESTION MANAGEMENT</a:t>
                </a:r>
              </a:p>
            </p:txBody>
          </p:sp>
          <p:sp>
            <p:nvSpPr>
              <p:cNvPr id="67" name="Rechteck 66"/>
              <p:cNvSpPr/>
              <p:nvPr/>
            </p:nvSpPr>
            <p:spPr bwMode="auto">
              <a:xfrm>
                <a:off x="2088044" y="3032956"/>
                <a:ext cx="2880000" cy="2159081"/>
              </a:xfrm>
              <a:prstGeom prst="rect">
                <a:avLst/>
              </a:prstGeom>
              <a:solidFill>
                <a:schemeClr val="bg1"/>
              </a:solidFill>
              <a:ln w="38100" cap="flat" cmpd="sng" algn="ctr">
                <a:solidFill>
                  <a:srgbClr val="89BA17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charset="0"/>
                  <a:buNone/>
                  <a:tabLst/>
                </a:pPr>
                <a:endParaRPr kumimoji="0" lang="de-DE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</p:grpSp>
        <p:grpSp>
          <p:nvGrpSpPr>
            <p:cNvPr id="8" name="Gruppieren 7"/>
            <p:cNvGrpSpPr/>
            <p:nvPr/>
          </p:nvGrpSpPr>
          <p:grpSpPr>
            <a:xfrm>
              <a:off x="2015295" y="871951"/>
              <a:ext cx="2880081" cy="2160000"/>
              <a:chOff x="2087643" y="512716"/>
              <a:chExt cx="2880081" cy="2160000"/>
            </a:xfrm>
          </p:grpSpPr>
          <p:sp>
            <p:nvSpPr>
              <p:cNvPr id="64" name="Rechteck 63"/>
              <p:cNvSpPr/>
              <p:nvPr/>
            </p:nvSpPr>
            <p:spPr bwMode="auto">
              <a:xfrm>
                <a:off x="2087724" y="872716"/>
                <a:ext cx="2880000" cy="1800000"/>
              </a:xfrm>
              <a:prstGeom prst="rect">
                <a:avLst/>
              </a:prstGeom>
              <a:solidFill>
                <a:schemeClr val="bg1"/>
              </a:solidFill>
              <a:ln w="38100" cap="flat" cmpd="sng" algn="ctr">
                <a:solidFill>
                  <a:srgbClr val="89BA17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charset="0"/>
                  <a:buNone/>
                  <a:tabLst/>
                </a:pPr>
                <a:endParaRPr kumimoji="0" lang="de-DE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65" name="Rechteck 64"/>
              <p:cNvSpPr/>
              <p:nvPr/>
            </p:nvSpPr>
            <p:spPr bwMode="auto">
              <a:xfrm>
                <a:off x="2087643" y="512716"/>
                <a:ext cx="2880000" cy="360000"/>
              </a:xfrm>
              <a:prstGeom prst="rect">
                <a:avLst/>
              </a:prstGeom>
              <a:solidFill>
                <a:srgbClr val="89BA17"/>
              </a:solidFill>
              <a:ln w="38100" cap="flat" cmpd="sng" algn="ctr">
                <a:solidFill>
                  <a:srgbClr val="89BA17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0" tIns="0" rIns="0" bIns="0" numCol="1" rtlCol="0" anchor="ctr" anchorCtr="1" compatLnSpc="1">
                <a:prstTxWarp prst="textNoShape">
                  <a:avLst/>
                </a:prstTxWarp>
                <a:normAutofit/>
              </a:bodyPr>
              <a:lstStyle/>
              <a:p>
                <a:pPr algn="ctr">
                  <a:defRPr/>
                </a:pPr>
                <a:r>
                  <a:rPr lang="de-DE" altLang="de-DE" sz="1600" b="1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alibri" panose="020F0502020204030204" pitchFamily="34" charset="0"/>
                  </a:rPr>
                  <a:t>STATE ESTIMATION</a:t>
                </a:r>
                <a:endParaRPr lang="de-DE" altLang="de-DE" sz="24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 pitchFamily="34" charset="0"/>
                </a:endParaRPr>
              </a:p>
            </p:txBody>
          </p:sp>
        </p:grpSp>
        <p:grpSp>
          <p:nvGrpSpPr>
            <p:cNvPr id="9" name="Gruppieren 8"/>
            <p:cNvGrpSpPr/>
            <p:nvPr/>
          </p:nvGrpSpPr>
          <p:grpSpPr>
            <a:xfrm>
              <a:off x="4826776" y="2313276"/>
              <a:ext cx="572976" cy="3600000"/>
              <a:chOff x="4899124" y="693901"/>
              <a:chExt cx="572976" cy="3600000"/>
            </a:xfrm>
            <a:effectLst/>
          </p:grpSpPr>
          <p:grpSp>
            <p:nvGrpSpPr>
              <p:cNvPr id="60" name="Gruppieren 59"/>
              <p:cNvGrpSpPr/>
              <p:nvPr/>
            </p:nvGrpSpPr>
            <p:grpSpPr>
              <a:xfrm>
                <a:off x="5049612" y="693901"/>
                <a:ext cx="422488" cy="3600000"/>
                <a:chOff x="5049612" y="693901"/>
                <a:chExt cx="422488" cy="3600000"/>
              </a:xfrm>
            </p:grpSpPr>
            <p:cxnSp>
              <p:nvCxnSpPr>
                <p:cNvPr id="62" name="Gerade Verbindung 61"/>
                <p:cNvCxnSpPr>
                  <a:stCxn id="61" idx="2"/>
                  <a:endCxn id="58" idx="1"/>
                </p:cNvCxnSpPr>
                <p:nvPr/>
              </p:nvCxnSpPr>
              <p:spPr bwMode="auto">
                <a:xfrm>
                  <a:off x="5049612" y="3033544"/>
                  <a:ext cx="422488" cy="1260357"/>
                </a:xfrm>
                <a:prstGeom prst="line">
                  <a:avLst/>
                </a:prstGeom>
                <a:solidFill>
                  <a:schemeClr val="bg1"/>
                </a:solidFill>
                <a:ln w="38100" cap="rnd" cmpd="sng" algn="ctr">
                  <a:solidFill>
                    <a:schemeClr val="accent3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63" name="Gerade Verbindung 62"/>
                <p:cNvCxnSpPr>
                  <a:stCxn id="61" idx="1"/>
                  <a:endCxn id="58" idx="2"/>
                </p:cNvCxnSpPr>
                <p:nvPr/>
              </p:nvCxnSpPr>
              <p:spPr bwMode="auto">
                <a:xfrm flipV="1">
                  <a:off x="5049612" y="693901"/>
                  <a:ext cx="422488" cy="1979015"/>
                </a:xfrm>
                <a:prstGeom prst="line">
                  <a:avLst/>
                </a:prstGeom>
                <a:solidFill>
                  <a:schemeClr val="bg1"/>
                </a:solidFill>
                <a:ln w="38100" cap="rnd" cmpd="sng" algn="ctr">
                  <a:solidFill>
                    <a:schemeClr val="accent3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sp>
            <p:nvSpPr>
              <p:cNvPr id="61" name="Rechteck 131"/>
              <p:cNvSpPr/>
              <p:nvPr/>
            </p:nvSpPr>
            <p:spPr bwMode="auto">
              <a:xfrm>
                <a:off x="4899124" y="2672916"/>
                <a:ext cx="150488" cy="360628"/>
              </a:xfrm>
              <a:custGeom>
                <a:avLst/>
                <a:gdLst>
                  <a:gd name="connsiteX0" fmla="*/ 0 w 914400"/>
                  <a:gd name="connsiteY0" fmla="*/ 0 h 914400"/>
                  <a:gd name="connsiteX1" fmla="*/ 914400 w 914400"/>
                  <a:gd name="connsiteY1" fmla="*/ 0 h 914400"/>
                  <a:gd name="connsiteX2" fmla="*/ 914400 w 914400"/>
                  <a:gd name="connsiteY2" fmla="*/ 914400 h 914400"/>
                  <a:gd name="connsiteX3" fmla="*/ 0 w 914400"/>
                  <a:gd name="connsiteY3" fmla="*/ 914400 h 914400"/>
                  <a:gd name="connsiteX4" fmla="*/ 0 w 914400"/>
                  <a:gd name="connsiteY4" fmla="*/ 0 h 914400"/>
                  <a:gd name="connsiteX0" fmla="*/ 466366 w 1380766"/>
                  <a:gd name="connsiteY0" fmla="*/ 0 h 914400"/>
                  <a:gd name="connsiteX1" fmla="*/ 1380766 w 1380766"/>
                  <a:gd name="connsiteY1" fmla="*/ 0 h 914400"/>
                  <a:gd name="connsiteX2" fmla="*/ 1380766 w 1380766"/>
                  <a:gd name="connsiteY2" fmla="*/ 914400 h 914400"/>
                  <a:gd name="connsiteX3" fmla="*/ 466366 w 1380766"/>
                  <a:gd name="connsiteY3" fmla="*/ 914400 h 914400"/>
                  <a:gd name="connsiteX4" fmla="*/ 0 w 1380766"/>
                  <a:gd name="connsiteY4" fmla="*/ 366224 h 914400"/>
                  <a:gd name="connsiteX5" fmla="*/ 466366 w 1380766"/>
                  <a:gd name="connsiteY5" fmla="*/ 0 h 914400"/>
                  <a:gd name="connsiteX0" fmla="*/ 0 w 1380766"/>
                  <a:gd name="connsiteY0" fmla="*/ 366224 h 914400"/>
                  <a:gd name="connsiteX1" fmla="*/ 466366 w 1380766"/>
                  <a:gd name="connsiteY1" fmla="*/ 0 h 914400"/>
                  <a:gd name="connsiteX2" fmla="*/ 1380766 w 1380766"/>
                  <a:gd name="connsiteY2" fmla="*/ 0 h 914400"/>
                  <a:gd name="connsiteX3" fmla="*/ 1380766 w 1380766"/>
                  <a:gd name="connsiteY3" fmla="*/ 914400 h 914400"/>
                  <a:gd name="connsiteX4" fmla="*/ 466366 w 1380766"/>
                  <a:gd name="connsiteY4" fmla="*/ 914400 h 914400"/>
                  <a:gd name="connsiteX5" fmla="*/ 91440 w 1380766"/>
                  <a:gd name="connsiteY5" fmla="*/ 457664 h 914400"/>
                  <a:gd name="connsiteX0" fmla="*/ 0 w 1380766"/>
                  <a:gd name="connsiteY0" fmla="*/ 366224 h 914400"/>
                  <a:gd name="connsiteX1" fmla="*/ 466366 w 1380766"/>
                  <a:gd name="connsiteY1" fmla="*/ 0 h 914400"/>
                  <a:gd name="connsiteX2" fmla="*/ 1380766 w 1380766"/>
                  <a:gd name="connsiteY2" fmla="*/ 0 h 914400"/>
                  <a:gd name="connsiteX3" fmla="*/ 1380766 w 1380766"/>
                  <a:gd name="connsiteY3" fmla="*/ 914400 h 914400"/>
                  <a:gd name="connsiteX4" fmla="*/ 466366 w 1380766"/>
                  <a:gd name="connsiteY4" fmla="*/ 914400 h 914400"/>
                  <a:gd name="connsiteX0" fmla="*/ 0 w 914400"/>
                  <a:gd name="connsiteY0" fmla="*/ 0 h 914400"/>
                  <a:gd name="connsiteX1" fmla="*/ 914400 w 914400"/>
                  <a:gd name="connsiteY1" fmla="*/ 0 h 914400"/>
                  <a:gd name="connsiteX2" fmla="*/ 914400 w 914400"/>
                  <a:gd name="connsiteY2" fmla="*/ 914400 h 914400"/>
                  <a:gd name="connsiteX3" fmla="*/ 0 w 914400"/>
                  <a:gd name="connsiteY3" fmla="*/ 9144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14400" h="914400">
                    <a:moveTo>
                      <a:pt x="0" y="0"/>
                    </a:moveTo>
                    <a:lnTo>
                      <a:pt x="914400" y="0"/>
                    </a:lnTo>
                    <a:lnTo>
                      <a:pt x="914400" y="914400"/>
                    </a:lnTo>
                    <a:lnTo>
                      <a:pt x="0" y="914400"/>
                    </a:lnTo>
                  </a:path>
                </a:pathLst>
              </a:custGeom>
              <a:solidFill>
                <a:schemeClr val="bg1"/>
              </a:solidFill>
              <a:ln w="38100" cap="rnd" cmpd="sng" algn="ctr">
                <a:solidFill>
                  <a:srgbClr val="89BA17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spcAft>
                    <a:spcPct val="100000"/>
                  </a:spcAft>
                  <a:buClr>
                    <a:schemeClr val="accent1"/>
                  </a:buClr>
                  <a:buFont typeface="Arial" charset="0"/>
                  <a:buNone/>
                </a:pPr>
                <a:endParaRPr lang="de-DE">
                  <a:latin typeface="Calibri" panose="020F0502020204030204" pitchFamily="34" charset="0"/>
                </a:endParaRPr>
              </a:p>
            </p:txBody>
          </p:sp>
        </p:grpSp>
        <p:grpSp>
          <p:nvGrpSpPr>
            <p:cNvPr id="10" name="Gruppieren 9"/>
            <p:cNvGrpSpPr/>
            <p:nvPr/>
          </p:nvGrpSpPr>
          <p:grpSpPr>
            <a:xfrm>
              <a:off x="5399752" y="1953276"/>
              <a:ext cx="3060340" cy="3960000"/>
              <a:chOff x="5472100" y="1772856"/>
              <a:chExt cx="3060340" cy="3960000"/>
            </a:xfrm>
          </p:grpSpPr>
          <p:sp>
            <p:nvSpPr>
              <p:cNvPr id="58" name="Rechteck 113"/>
              <p:cNvSpPr/>
              <p:nvPr/>
            </p:nvSpPr>
            <p:spPr bwMode="auto">
              <a:xfrm>
                <a:off x="5472100" y="2132856"/>
                <a:ext cx="3060340" cy="3600000"/>
              </a:xfrm>
              <a:custGeom>
                <a:avLst/>
                <a:gdLst>
                  <a:gd name="connsiteX0" fmla="*/ 0 w 612068"/>
                  <a:gd name="connsiteY0" fmla="*/ 0 h 72068"/>
                  <a:gd name="connsiteX1" fmla="*/ 612068 w 612068"/>
                  <a:gd name="connsiteY1" fmla="*/ 0 h 72068"/>
                  <a:gd name="connsiteX2" fmla="*/ 612068 w 612068"/>
                  <a:gd name="connsiteY2" fmla="*/ 72068 h 72068"/>
                  <a:gd name="connsiteX3" fmla="*/ 0 w 612068"/>
                  <a:gd name="connsiteY3" fmla="*/ 72068 h 72068"/>
                  <a:gd name="connsiteX4" fmla="*/ 0 w 612068"/>
                  <a:gd name="connsiteY4" fmla="*/ 0 h 72068"/>
                  <a:gd name="connsiteX0" fmla="*/ 612068 w 703508"/>
                  <a:gd name="connsiteY0" fmla="*/ 72068 h 163508"/>
                  <a:gd name="connsiteX1" fmla="*/ 0 w 703508"/>
                  <a:gd name="connsiteY1" fmla="*/ 72068 h 163508"/>
                  <a:gd name="connsiteX2" fmla="*/ 0 w 703508"/>
                  <a:gd name="connsiteY2" fmla="*/ 0 h 163508"/>
                  <a:gd name="connsiteX3" fmla="*/ 612068 w 703508"/>
                  <a:gd name="connsiteY3" fmla="*/ 0 h 163508"/>
                  <a:gd name="connsiteX4" fmla="*/ 703508 w 703508"/>
                  <a:gd name="connsiteY4" fmla="*/ 163508 h 163508"/>
                  <a:gd name="connsiteX0" fmla="*/ 612068 w 612068"/>
                  <a:gd name="connsiteY0" fmla="*/ 72068 h 72068"/>
                  <a:gd name="connsiteX1" fmla="*/ 0 w 612068"/>
                  <a:gd name="connsiteY1" fmla="*/ 72068 h 72068"/>
                  <a:gd name="connsiteX2" fmla="*/ 0 w 612068"/>
                  <a:gd name="connsiteY2" fmla="*/ 0 h 72068"/>
                  <a:gd name="connsiteX3" fmla="*/ 612068 w 612068"/>
                  <a:gd name="connsiteY3" fmla="*/ 0 h 72068"/>
                  <a:gd name="connsiteX0" fmla="*/ 612068 w 612068"/>
                  <a:gd name="connsiteY0" fmla="*/ 72068 h 72068"/>
                  <a:gd name="connsiteX1" fmla="*/ 0 w 612068"/>
                  <a:gd name="connsiteY1" fmla="*/ 72068 h 72068"/>
                  <a:gd name="connsiteX2" fmla="*/ 0 w 612068"/>
                  <a:gd name="connsiteY2" fmla="*/ 0 h 72068"/>
                  <a:gd name="connsiteX3" fmla="*/ 612068 w 612068"/>
                  <a:gd name="connsiteY3" fmla="*/ 0 h 72068"/>
                  <a:gd name="connsiteX4" fmla="*/ 612068 w 612068"/>
                  <a:gd name="connsiteY4" fmla="*/ 72068 h 720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12068" h="72068">
                    <a:moveTo>
                      <a:pt x="612068" y="72068"/>
                    </a:moveTo>
                    <a:lnTo>
                      <a:pt x="0" y="72068"/>
                    </a:lnTo>
                    <a:lnTo>
                      <a:pt x="0" y="0"/>
                    </a:lnTo>
                    <a:lnTo>
                      <a:pt x="612068" y="0"/>
                    </a:lnTo>
                    <a:lnTo>
                      <a:pt x="612068" y="72068"/>
                    </a:lnTo>
                    <a:close/>
                  </a:path>
                </a:pathLst>
              </a:custGeom>
              <a:solidFill>
                <a:schemeClr val="bg1"/>
              </a:solidFill>
              <a:ln w="38100" cap="flat" cmpd="sng" algn="ctr">
                <a:solidFill>
                  <a:srgbClr val="89BA17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spcAft>
                    <a:spcPct val="100000"/>
                  </a:spcAft>
                  <a:buClr>
                    <a:schemeClr val="accent1"/>
                  </a:buClr>
                  <a:buFont typeface="Arial" charset="0"/>
                  <a:buNone/>
                </a:pPr>
                <a:endParaRPr lang="de-DE">
                  <a:latin typeface="Calibri" panose="020F0502020204030204" pitchFamily="34" charset="0"/>
                </a:endParaRPr>
              </a:p>
            </p:txBody>
          </p:sp>
          <p:sp>
            <p:nvSpPr>
              <p:cNvPr id="59" name="Rechteck 58"/>
              <p:cNvSpPr/>
              <p:nvPr/>
            </p:nvSpPr>
            <p:spPr bwMode="auto">
              <a:xfrm>
                <a:off x="5472100" y="1772856"/>
                <a:ext cx="3060000" cy="360000"/>
              </a:xfrm>
              <a:prstGeom prst="rect">
                <a:avLst/>
              </a:prstGeom>
              <a:solidFill>
                <a:srgbClr val="89BA17"/>
              </a:solidFill>
              <a:ln w="38100" cap="flat" cmpd="sng" algn="ctr">
                <a:solidFill>
                  <a:srgbClr val="89BA17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0" tIns="0" rIns="0" bIns="0" numCol="1" rtlCol="0" anchor="ctr" anchorCtr="1" compatLnSpc="1">
                <a:prstTxWarp prst="textNoShape">
                  <a:avLst/>
                </a:prstTxWarp>
                <a:normAutofit/>
              </a:bodyPr>
              <a:lstStyle/>
              <a:p>
                <a:pPr algn="ctr">
                  <a:defRPr/>
                </a:pPr>
                <a:r>
                  <a:rPr lang="de-DE" altLang="de-DE" sz="1600" b="1" dirty="0"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latin typeface="Calibri" panose="020F0502020204030204" pitchFamily="34" charset="0"/>
                  </a:rPr>
                  <a:t>FLEXIBILITY</a:t>
                </a:r>
                <a:endParaRPr lang="de-DE" altLang="de-DE" sz="2400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 panose="020F0502020204030204" pitchFamily="34" charset="0"/>
                </a:endParaRPr>
              </a:p>
            </p:txBody>
          </p:sp>
        </p:grpSp>
        <p:grpSp>
          <p:nvGrpSpPr>
            <p:cNvPr id="11" name="Gruppieren 10"/>
            <p:cNvGrpSpPr/>
            <p:nvPr/>
          </p:nvGrpSpPr>
          <p:grpSpPr>
            <a:xfrm>
              <a:off x="5579544" y="2348880"/>
              <a:ext cx="2700528" cy="3492388"/>
              <a:chOff x="5651892" y="2168860"/>
              <a:chExt cx="2700528" cy="3492388"/>
            </a:xfrm>
          </p:grpSpPr>
          <p:grpSp>
            <p:nvGrpSpPr>
              <p:cNvPr id="40" name="Gruppieren 39"/>
              <p:cNvGrpSpPr/>
              <p:nvPr/>
            </p:nvGrpSpPr>
            <p:grpSpPr>
              <a:xfrm>
                <a:off x="5652304" y="2491666"/>
                <a:ext cx="2700116" cy="2881550"/>
                <a:chOff x="5652304" y="2491666"/>
                <a:chExt cx="2700116" cy="2881550"/>
              </a:xfrm>
            </p:grpSpPr>
            <p:sp>
              <p:nvSpPr>
                <p:cNvPr id="53" name="Rechteck 93"/>
                <p:cNvSpPr/>
                <p:nvPr/>
              </p:nvSpPr>
              <p:spPr>
                <a:xfrm flipH="1">
                  <a:off x="6192420" y="2491666"/>
                  <a:ext cx="2160000" cy="72131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60000" h="721310">
                      <a:moveTo>
                        <a:pt x="1260098" y="0"/>
                      </a:moveTo>
                      <a:lnTo>
                        <a:pt x="1258777" y="0"/>
                      </a:lnTo>
                      <a:lnTo>
                        <a:pt x="1080158" y="137400"/>
                      </a:lnTo>
                      <a:lnTo>
                        <a:pt x="901540" y="0"/>
                      </a:lnTo>
                      <a:lnTo>
                        <a:pt x="900139" y="0"/>
                      </a:lnTo>
                      <a:lnTo>
                        <a:pt x="900139" y="179981"/>
                      </a:lnTo>
                      <a:lnTo>
                        <a:pt x="900140" y="179981"/>
                      </a:lnTo>
                      <a:lnTo>
                        <a:pt x="900140" y="180073"/>
                      </a:lnTo>
                      <a:lnTo>
                        <a:pt x="0" y="180073"/>
                      </a:lnTo>
                      <a:lnTo>
                        <a:pt x="0" y="540073"/>
                      </a:lnTo>
                      <a:lnTo>
                        <a:pt x="900972" y="540073"/>
                      </a:lnTo>
                      <a:lnTo>
                        <a:pt x="900972" y="541329"/>
                      </a:lnTo>
                      <a:lnTo>
                        <a:pt x="901013" y="541329"/>
                      </a:lnTo>
                      <a:lnTo>
                        <a:pt x="901013" y="582863"/>
                      </a:lnTo>
                      <a:lnTo>
                        <a:pt x="900972" y="582863"/>
                      </a:lnTo>
                      <a:lnTo>
                        <a:pt x="1080952" y="721310"/>
                      </a:lnTo>
                      <a:lnTo>
                        <a:pt x="1260931" y="582863"/>
                      </a:lnTo>
                      <a:lnTo>
                        <a:pt x="1260972" y="582863"/>
                      </a:lnTo>
                      <a:lnTo>
                        <a:pt x="1260972" y="541329"/>
                      </a:lnTo>
                      <a:lnTo>
                        <a:pt x="1260972" y="540073"/>
                      </a:lnTo>
                      <a:lnTo>
                        <a:pt x="2160000" y="540073"/>
                      </a:lnTo>
                      <a:lnTo>
                        <a:pt x="2160000" y="180073"/>
                      </a:lnTo>
                      <a:lnTo>
                        <a:pt x="1260140" y="180073"/>
                      </a:lnTo>
                      <a:lnTo>
                        <a:pt x="1260140" y="177639"/>
                      </a:lnTo>
                      <a:lnTo>
                        <a:pt x="1260098" y="177639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vert="horz" wrap="none" lIns="90000" tIns="46800" rIns="90000" bIns="468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Font typeface="Arial" charset="0"/>
                    <a:buNone/>
                  </a:pPr>
                  <a:endParaRPr lang="de-DE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54" name="Rechteck 100"/>
                <p:cNvSpPr/>
                <p:nvPr/>
              </p:nvSpPr>
              <p:spPr bwMode="auto">
                <a:xfrm>
                  <a:off x="6192420" y="3211852"/>
                  <a:ext cx="2160000" cy="72120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60000" h="721204">
                      <a:moveTo>
                        <a:pt x="899908" y="0"/>
                      </a:moveTo>
                      <a:lnTo>
                        <a:pt x="901229" y="0"/>
                      </a:lnTo>
                      <a:lnTo>
                        <a:pt x="1079848" y="137400"/>
                      </a:lnTo>
                      <a:lnTo>
                        <a:pt x="1258466" y="0"/>
                      </a:lnTo>
                      <a:lnTo>
                        <a:pt x="1259867" y="0"/>
                      </a:lnTo>
                      <a:lnTo>
                        <a:pt x="1259867" y="179981"/>
                      </a:lnTo>
                      <a:lnTo>
                        <a:pt x="1259866" y="179981"/>
                      </a:lnTo>
                      <a:lnTo>
                        <a:pt x="1259866" y="180060"/>
                      </a:lnTo>
                      <a:lnTo>
                        <a:pt x="2160000" y="180060"/>
                      </a:lnTo>
                      <a:lnTo>
                        <a:pt x="2160000" y="540060"/>
                      </a:lnTo>
                      <a:lnTo>
                        <a:pt x="1260475" y="540060"/>
                      </a:lnTo>
                      <a:lnTo>
                        <a:pt x="1260475" y="541223"/>
                      </a:lnTo>
                      <a:lnTo>
                        <a:pt x="1260434" y="541223"/>
                      </a:lnTo>
                      <a:lnTo>
                        <a:pt x="1260434" y="582757"/>
                      </a:lnTo>
                      <a:lnTo>
                        <a:pt x="1260475" y="582757"/>
                      </a:lnTo>
                      <a:lnTo>
                        <a:pt x="1080495" y="721204"/>
                      </a:lnTo>
                      <a:lnTo>
                        <a:pt x="900516" y="582757"/>
                      </a:lnTo>
                      <a:lnTo>
                        <a:pt x="900475" y="582757"/>
                      </a:lnTo>
                      <a:lnTo>
                        <a:pt x="900475" y="541223"/>
                      </a:lnTo>
                      <a:lnTo>
                        <a:pt x="900475" y="540060"/>
                      </a:lnTo>
                      <a:lnTo>
                        <a:pt x="0" y="540060"/>
                      </a:lnTo>
                      <a:lnTo>
                        <a:pt x="0" y="180060"/>
                      </a:lnTo>
                      <a:lnTo>
                        <a:pt x="899866" y="180060"/>
                      </a:lnTo>
                      <a:lnTo>
                        <a:pt x="899866" y="177639"/>
                      </a:lnTo>
                      <a:lnTo>
                        <a:pt x="899908" y="177639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xtLst/>
              </p:spPr>
              <p:txBody>
                <a:bodyPr vert="horz" wrap="none" lIns="90000" tIns="46800" rIns="90000" bIns="468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>
                    <a:spcAft>
                      <a:spcPct val="100000"/>
                    </a:spcAft>
                    <a:buClr>
                      <a:schemeClr val="accent1"/>
                    </a:buClr>
                    <a:buFont typeface="Arial" charset="0"/>
                    <a:buNone/>
                  </a:pPr>
                  <a:endParaRPr lang="de-DE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55" name="Rechteck 100"/>
                <p:cNvSpPr/>
                <p:nvPr/>
              </p:nvSpPr>
              <p:spPr bwMode="auto">
                <a:xfrm>
                  <a:off x="6193224" y="3931879"/>
                  <a:ext cx="2159196" cy="7212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159196" h="721257">
                      <a:moveTo>
                        <a:pt x="899675" y="0"/>
                      </a:moveTo>
                      <a:lnTo>
                        <a:pt x="900996" y="0"/>
                      </a:lnTo>
                      <a:lnTo>
                        <a:pt x="1079615" y="137400"/>
                      </a:lnTo>
                      <a:lnTo>
                        <a:pt x="1258233" y="0"/>
                      </a:lnTo>
                      <a:lnTo>
                        <a:pt x="1259634" y="0"/>
                      </a:lnTo>
                      <a:lnTo>
                        <a:pt x="1259634" y="179981"/>
                      </a:lnTo>
                      <a:lnTo>
                        <a:pt x="1259633" y="179981"/>
                      </a:lnTo>
                      <a:lnTo>
                        <a:pt x="1259633" y="180113"/>
                      </a:lnTo>
                      <a:lnTo>
                        <a:pt x="2159196" y="180113"/>
                      </a:lnTo>
                      <a:lnTo>
                        <a:pt x="2159196" y="540113"/>
                      </a:lnTo>
                      <a:lnTo>
                        <a:pt x="2015946" y="540113"/>
                      </a:lnTo>
                      <a:lnTo>
                        <a:pt x="2015946" y="541276"/>
                      </a:lnTo>
                      <a:lnTo>
                        <a:pt x="2015905" y="541276"/>
                      </a:lnTo>
                      <a:lnTo>
                        <a:pt x="2015905" y="582810"/>
                      </a:lnTo>
                      <a:lnTo>
                        <a:pt x="2015946" y="582810"/>
                      </a:lnTo>
                      <a:lnTo>
                        <a:pt x="1835966" y="721257"/>
                      </a:lnTo>
                      <a:lnTo>
                        <a:pt x="1655987" y="582810"/>
                      </a:lnTo>
                      <a:lnTo>
                        <a:pt x="1655946" y="582810"/>
                      </a:lnTo>
                      <a:lnTo>
                        <a:pt x="1655946" y="541276"/>
                      </a:lnTo>
                      <a:lnTo>
                        <a:pt x="1655946" y="540113"/>
                      </a:lnTo>
                      <a:lnTo>
                        <a:pt x="899822" y="540113"/>
                      </a:lnTo>
                      <a:lnTo>
                        <a:pt x="899822" y="541276"/>
                      </a:lnTo>
                      <a:lnTo>
                        <a:pt x="899781" y="541276"/>
                      </a:lnTo>
                      <a:lnTo>
                        <a:pt x="899781" y="582810"/>
                      </a:lnTo>
                      <a:lnTo>
                        <a:pt x="899822" y="582810"/>
                      </a:lnTo>
                      <a:lnTo>
                        <a:pt x="719842" y="721257"/>
                      </a:lnTo>
                      <a:lnTo>
                        <a:pt x="539863" y="582810"/>
                      </a:lnTo>
                      <a:lnTo>
                        <a:pt x="539822" y="582810"/>
                      </a:lnTo>
                      <a:lnTo>
                        <a:pt x="539822" y="541276"/>
                      </a:lnTo>
                      <a:lnTo>
                        <a:pt x="539822" y="540113"/>
                      </a:lnTo>
                      <a:lnTo>
                        <a:pt x="0" y="540113"/>
                      </a:lnTo>
                      <a:lnTo>
                        <a:pt x="0" y="180113"/>
                      </a:lnTo>
                      <a:lnTo>
                        <a:pt x="899633" y="180113"/>
                      </a:lnTo>
                      <a:lnTo>
                        <a:pt x="899633" y="177639"/>
                      </a:lnTo>
                      <a:lnTo>
                        <a:pt x="899675" y="177639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xtLst/>
              </p:spPr>
              <p:txBody>
                <a:bodyPr vert="horz" wrap="none" lIns="90000" tIns="46800" rIns="90000" bIns="468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>
                    <a:spcAft>
                      <a:spcPct val="100000"/>
                    </a:spcAft>
                    <a:buClr>
                      <a:schemeClr val="accent1"/>
                    </a:buClr>
                    <a:buFont typeface="Arial" charset="0"/>
                    <a:buNone/>
                  </a:pPr>
                  <a:endParaRPr lang="de-DE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56" name="Rechteck 100"/>
                <p:cNvSpPr/>
                <p:nvPr/>
              </p:nvSpPr>
              <p:spPr bwMode="auto">
                <a:xfrm>
                  <a:off x="5652304" y="2492896"/>
                  <a:ext cx="1980036" cy="2880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980036" h="2882674">
                      <a:moveTo>
                        <a:pt x="180245" y="0"/>
                      </a:moveTo>
                      <a:lnTo>
                        <a:pt x="360224" y="138447"/>
                      </a:lnTo>
                      <a:lnTo>
                        <a:pt x="360265" y="138447"/>
                      </a:lnTo>
                      <a:lnTo>
                        <a:pt x="360265" y="179981"/>
                      </a:lnTo>
                      <a:lnTo>
                        <a:pt x="360265" y="197981"/>
                      </a:lnTo>
                      <a:lnTo>
                        <a:pt x="360001" y="197981"/>
                      </a:lnTo>
                      <a:lnTo>
                        <a:pt x="360001" y="217201"/>
                      </a:lnTo>
                      <a:lnTo>
                        <a:pt x="360000" y="217201"/>
                      </a:lnTo>
                      <a:lnTo>
                        <a:pt x="360000" y="2341437"/>
                      </a:lnTo>
                      <a:lnTo>
                        <a:pt x="1080120" y="2341437"/>
                      </a:lnTo>
                      <a:lnTo>
                        <a:pt x="1080120" y="2339056"/>
                      </a:lnTo>
                      <a:lnTo>
                        <a:pt x="1080162" y="2339056"/>
                      </a:lnTo>
                      <a:lnTo>
                        <a:pt x="1080162" y="2161417"/>
                      </a:lnTo>
                      <a:lnTo>
                        <a:pt x="1081483" y="2161417"/>
                      </a:lnTo>
                      <a:lnTo>
                        <a:pt x="1260102" y="2298817"/>
                      </a:lnTo>
                      <a:lnTo>
                        <a:pt x="1438720" y="2161417"/>
                      </a:lnTo>
                      <a:lnTo>
                        <a:pt x="1440121" y="2161417"/>
                      </a:lnTo>
                      <a:lnTo>
                        <a:pt x="1440121" y="2341398"/>
                      </a:lnTo>
                      <a:lnTo>
                        <a:pt x="1440120" y="2341398"/>
                      </a:lnTo>
                      <a:lnTo>
                        <a:pt x="1440120" y="2341437"/>
                      </a:lnTo>
                      <a:lnTo>
                        <a:pt x="1980036" y="2341437"/>
                      </a:lnTo>
                      <a:lnTo>
                        <a:pt x="1980036" y="2701437"/>
                      </a:lnTo>
                      <a:lnTo>
                        <a:pt x="1440122" y="2701437"/>
                      </a:lnTo>
                      <a:lnTo>
                        <a:pt x="1440122" y="2702693"/>
                      </a:lnTo>
                      <a:lnTo>
                        <a:pt x="1440081" y="2702693"/>
                      </a:lnTo>
                      <a:lnTo>
                        <a:pt x="1440081" y="2744227"/>
                      </a:lnTo>
                      <a:lnTo>
                        <a:pt x="1440122" y="2744227"/>
                      </a:lnTo>
                      <a:lnTo>
                        <a:pt x="1260142" y="2882674"/>
                      </a:lnTo>
                      <a:lnTo>
                        <a:pt x="1080163" y="2744227"/>
                      </a:lnTo>
                      <a:lnTo>
                        <a:pt x="1080122" y="2744227"/>
                      </a:lnTo>
                      <a:lnTo>
                        <a:pt x="1080122" y="2702693"/>
                      </a:lnTo>
                      <a:lnTo>
                        <a:pt x="1080122" y="2701437"/>
                      </a:lnTo>
                      <a:lnTo>
                        <a:pt x="360267" y="2701437"/>
                      </a:lnTo>
                      <a:lnTo>
                        <a:pt x="360267" y="2703912"/>
                      </a:lnTo>
                      <a:lnTo>
                        <a:pt x="360225" y="2703912"/>
                      </a:lnTo>
                      <a:lnTo>
                        <a:pt x="360225" y="2881551"/>
                      </a:lnTo>
                      <a:lnTo>
                        <a:pt x="358904" y="2881551"/>
                      </a:lnTo>
                      <a:lnTo>
                        <a:pt x="180285" y="2744151"/>
                      </a:lnTo>
                      <a:lnTo>
                        <a:pt x="1667" y="2881551"/>
                      </a:lnTo>
                      <a:lnTo>
                        <a:pt x="266" y="2881551"/>
                      </a:lnTo>
                      <a:lnTo>
                        <a:pt x="266" y="2701570"/>
                      </a:lnTo>
                      <a:lnTo>
                        <a:pt x="267" y="2701570"/>
                      </a:lnTo>
                      <a:lnTo>
                        <a:pt x="267" y="2701198"/>
                      </a:lnTo>
                      <a:lnTo>
                        <a:pt x="0" y="2701198"/>
                      </a:lnTo>
                      <a:lnTo>
                        <a:pt x="0" y="2687074"/>
                      </a:lnTo>
                      <a:lnTo>
                        <a:pt x="0" y="2665474"/>
                      </a:lnTo>
                      <a:lnTo>
                        <a:pt x="0" y="217201"/>
                      </a:lnTo>
                      <a:lnTo>
                        <a:pt x="0" y="195601"/>
                      </a:lnTo>
                      <a:lnTo>
                        <a:pt x="0" y="181198"/>
                      </a:lnTo>
                      <a:lnTo>
                        <a:pt x="265" y="181198"/>
                      </a:lnTo>
                      <a:lnTo>
                        <a:pt x="265" y="179981"/>
                      </a:lnTo>
                      <a:lnTo>
                        <a:pt x="306" y="179981"/>
                      </a:lnTo>
                      <a:lnTo>
                        <a:pt x="306" y="138447"/>
                      </a:lnTo>
                      <a:lnTo>
                        <a:pt x="265" y="138447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xtLst/>
              </p:spPr>
              <p:txBody>
                <a:bodyPr vert="horz" wrap="none" lIns="90000" tIns="46800" rIns="90000" bIns="468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ctr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100000"/>
                    </a:spcAft>
                    <a:buClr>
                      <a:schemeClr val="accent1"/>
                    </a:buClr>
                    <a:buSzTx/>
                    <a:buFont typeface="Arial" charset="0"/>
                    <a:buNone/>
                    <a:tabLst/>
                  </a:pPr>
                  <a:endParaRPr kumimoji="0" lang="de-DE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57" name="Rechteck 100"/>
                <p:cNvSpPr/>
                <p:nvPr/>
              </p:nvSpPr>
              <p:spPr bwMode="auto">
                <a:xfrm>
                  <a:off x="7848364" y="4651959"/>
                  <a:ext cx="360267" cy="7212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0267" h="721257">
                      <a:moveTo>
                        <a:pt x="42" y="0"/>
                      </a:moveTo>
                      <a:lnTo>
                        <a:pt x="1363" y="0"/>
                      </a:lnTo>
                      <a:lnTo>
                        <a:pt x="179982" y="137400"/>
                      </a:lnTo>
                      <a:lnTo>
                        <a:pt x="358600" y="0"/>
                      </a:lnTo>
                      <a:lnTo>
                        <a:pt x="360001" y="0"/>
                      </a:lnTo>
                      <a:lnTo>
                        <a:pt x="360001" y="179981"/>
                      </a:lnTo>
                      <a:lnTo>
                        <a:pt x="360000" y="179981"/>
                      </a:lnTo>
                      <a:lnTo>
                        <a:pt x="360000" y="180064"/>
                      </a:lnTo>
                      <a:lnTo>
                        <a:pt x="360000" y="194477"/>
                      </a:lnTo>
                      <a:lnTo>
                        <a:pt x="360267" y="194477"/>
                      </a:lnTo>
                      <a:lnTo>
                        <a:pt x="360267" y="216077"/>
                      </a:lnTo>
                      <a:lnTo>
                        <a:pt x="360000" y="216077"/>
                      </a:lnTo>
                      <a:lnTo>
                        <a:pt x="360000" y="504056"/>
                      </a:lnTo>
                      <a:lnTo>
                        <a:pt x="360267" y="504056"/>
                      </a:lnTo>
                      <a:lnTo>
                        <a:pt x="360267" y="525656"/>
                      </a:lnTo>
                      <a:lnTo>
                        <a:pt x="360002" y="525656"/>
                      </a:lnTo>
                      <a:lnTo>
                        <a:pt x="360002" y="541276"/>
                      </a:lnTo>
                      <a:lnTo>
                        <a:pt x="359961" y="541276"/>
                      </a:lnTo>
                      <a:lnTo>
                        <a:pt x="359961" y="582810"/>
                      </a:lnTo>
                      <a:lnTo>
                        <a:pt x="360002" y="582810"/>
                      </a:lnTo>
                      <a:lnTo>
                        <a:pt x="180022" y="721257"/>
                      </a:lnTo>
                      <a:lnTo>
                        <a:pt x="43" y="582810"/>
                      </a:lnTo>
                      <a:lnTo>
                        <a:pt x="2" y="582810"/>
                      </a:lnTo>
                      <a:lnTo>
                        <a:pt x="2" y="541276"/>
                      </a:lnTo>
                      <a:lnTo>
                        <a:pt x="2" y="540064"/>
                      </a:lnTo>
                      <a:lnTo>
                        <a:pt x="0" y="540064"/>
                      </a:lnTo>
                      <a:lnTo>
                        <a:pt x="0" y="199239"/>
                      </a:lnTo>
                      <a:lnTo>
                        <a:pt x="0" y="180064"/>
                      </a:lnTo>
                      <a:lnTo>
                        <a:pt x="0" y="177639"/>
                      </a:lnTo>
                      <a:lnTo>
                        <a:pt x="42" y="177639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xtLst/>
              </p:spPr>
              <p:txBody>
                <a:bodyPr vert="horz" wrap="none" lIns="90000" tIns="46800" rIns="90000" bIns="468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>
                    <a:spcAft>
                      <a:spcPct val="100000"/>
                    </a:spcAft>
                    <a:buClr>
                      <a:schemeClr val="accent1"/>
                    </a:buClr>
                    <a:buFont typeface="Arial" charset="0"/>
                    <a:buNone/>
                  </a:pPr>
                  <a:endParaRPr lang="de-DE">
                    <a:latin typeface="Calibri" panose="020F0502020204030204" pitchFamily="34" charset="0"/>
                  </a:endParaRPr>
                </a:p>
              </p:txBody>
            </p:sp>
          </p:grpSp>
          <p:grpSp>
            <p:nvGrpSpPr>
              <p:cNvPr id="41" name="Gruppieren 40"/>
              <p:cNvGrpSpPr/>
              <p:nvPr/>
            </p:nvGrpSpPr>
            <p:grpSpPr>
              <a:xfrm>
                <a:off x="6012340" y="2672956"/>
                <a:ext cx="2340080" cy="2520200"/>
                <a:chOff x="6012340" y="2672956"/>
                <a:chExt cx="2340080" cy="2520200"/>
              </a:xfrm>
            </p:grpSpPr>
            <p:sp>
              <p:nvSpPr>
                <p:cNvPr id="49" name="Textfeld 48"/>
                <p:cNvSpPr txBox="1"/>
                <p:nvPr/>
              </p:nvSpPr>
              <p:spPr>
                <a:xfrm>
                  <a:off x="6192420" y="2672956"/>
                  <a:ext cx="2160000" cy="360000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 anchorCtr="1">
                  <a:normAutofit/>
                </a:bodyPr>
                <a:lstStyle/>
                <a:p>
                  <a:pPr algn="ctr"/>
                  <a:r>
                    <a:rPr lang="de-DE" sz="1250" dirty="0" err="1">
                      <a:latin typeface="Calibri" panose="020F0502020204030204" pitchFamily="34" charset="0"/>
                    </a:rPr>
                    <a:t>Availability</a:t>
                  </a:r>
                  <a:r>
                    <a:rPr lang="de-DE" sz="1250" dirty="0">
                      <a:latin typeface="Calibri" panose="020F0502020204030204" pitchFamily="34" charset="0"/>
                    </a:rPr>
                    <a:t> of </a:t>
                  </a:r>
                  <a:r>
                    <a:rPr lang="de-DE" sz="1250" dirty="0" err="1">
                      <a:latin typeface="Calibri" panose="020F0502020204030204" pitchFamily="34" charset="0"/>
                    </a:rPr>
                    <a:t>Flexibility</a:t>
                  </a:r>
                  <a:r>
                    <a:rPr lang="de-DE" sz="1250" dirty="0">
                      <a:latin typeface="Calibri" panose="020F0502020204030204" pitchFamily="34" charset="0"/>
                    </a:rPr>
                    <a:t>?</a:t>
                  </a:r>
                </a:p>
              </p:txBody>
            </p:sp>
            <p:sp>
              <p:nvSpPr>
                <p:cNvPr id="50" name="Textfeld 49"/>
                <p:cNvSpPr txBox="1"/>
                <p:nvPr/>
              </p:nvSpPr>
              <p:spPr>
                <a:xfrm>
                  <a:off x="6192180" y="3393036"/>
                  <a:ext cx="2160000" cy="360000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 anchorCtr="1">
                  <a:normAutofit/>
                </a:bodyPr>
                <a:lstStyle>
                  <a:defPPr>
                    <a:defRPr lang="de-DE"/>
                  </a:defPPr>
                  <a:lvl1pPr algn="ctr">
                    <a:defRPr sz="1300">
                      <a:latin typeface="Calibri" panose="020F0502020204030204" pitchFamily="34" charset="0"/>
                    </a:defRPr>
                  </a:lvl1pPr>
                </a:lstStyle>
                <a:p>
                  <a:r>
                    <a:rPr lang="en-US" sz="1050" dirty="0" smtClean="0"/>
                    <a:t>Effect analysis </a:t>
                  </a:r>
                  <a:r>
                    <a:rPr lang="en-US" sz="1050" dirty="0"/>
                    <a:t>on the Grid</a:t>
                  </a:r>
                </a:p>
              </p:txBody>
            </p:sp>
            <p:sp>
              <p:nvSpPr>
                <p:cNvPr id="51" name="Textfeld 50"/>
                <p:cNvSpPr txBox="1"/>
                <p:nvPr/>
              </p:nvSpPr>
              <p:spPr>
                <a:xfrm>
                  <a:off x="6193319" y="4113075"/>
                  <a:ext cx="2158600" cy="359197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 anchorCtr="1">
                  <a:normAutofit/>
                </a:bodyPr>
                <a:lstStyle>
                  <a:defPPr>
                    <a:defRPr lang="de-DE"/>
                  </a:defPPr>
                  <a:lvl1pPr algn="ctr">
                    <a:defRPr sz="1300">
                      <a:latin typeface="Calibri" panose="020F0502020204030204" pitchFamily="34" charset="0"/>
                    </a:defRPr>
                  </a:lvl1pPr>
                </a:lstStyle>
                <a:p>
                  <a:r>
                    <a:rPr lang="de-DE" sz="1250" dirty="0"/>
                    <a:t>Validation of </a:t>
                  </a:r>
                  <a:r>
                    <a:rPr lang="de-DE" sz="1250" dirty="0" err="1"/>
                    <a:t>Results</a:t>
                  </a:r>
                  <a:endParaRPr lang="de-DE" sz="1250" dirty="0"/>
                </a:p>
              </p:txBody>
            </p:sp>
            <p:sp>
              <p:nvSpPr>
                <p:cNvPr id="52" name="Textfeld 51"/>
                <p:cNvSpPr txBox="1"/>
                <p:nvPr/>
              </p:nvSpPr>
              <p:spPr>
                <a:xfrm>
                  <a:off x="6012340" y="4833156"/>
                  <a:ext cx="1620000" cy="360000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 anchorCtr="1">
                  <a:normAutofit lnSpcReduction="10000"/>
                </a:bodyPr>
                <a:lstStyle>
                  <a:defPPr>
                    <a:defRPr lang="de-DE"/>
                  </a:defPPr>
                  <a:lvl1pPr algn="ctr">
                    <a:defRPr sz="1300">
                      <a:latin typeface="Calibri" panose="020F0502020204030204" pitchFamily="34" charset="0"/>
                    </a:defRPr>
                  </a:lvl1pPr>
                </a:lstStyle>
                <a:p>
                  <a:r>
                    <a:rPr lang="en-US" sz="1250" dirty="0"/>
                    <a:t>Call of Flexibility </a:t>
                  </a:r>
                </a:p>
                <a:p>
                  <a:r>
                    <a:rPr lang="en-US" sz="1250" dirty="0"/>
                    <a:t>per Retailer</a:t>
                  </a:r>
                </a:p>
              </p:txBody>
            </p:sp>
          </p:grpSp>
          <p:grpSp>
            <p:nvGrpSpPr>
              <p:cNvPr id="42" name="Gruppieren 41"/>
              <p:cNvGrpSpPr/>
              <p:nvPr/>
            </p:nvGrpSpPr>
            <p:grpSpPr>
              <a:xfrm>
                <a:off x="5652420" y="5373216"/>
                <a:ext cx="2556284" cy="288032"/>
                <a:chOff x="5652420" y="5373216"/>
                <a:chExt cx="2556284" cy="288032"/>
              </a:xfrm>
            </p:grpSpPr>
            <p:sp>
              <p:nvSpPr>
                <p:cNvPr id="46" name="Rechteck 24"/>
                <p:cNvSpPr/>
                <p:nvPr/>
              </p:nvSpPr>
              <p:spPr>
                <a:xfrm rot="10800000">
                  <a:off x="6732312" y="5373235"/>
                  <a:ext cx="360268" cy="2880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0268" h="288012">
                      <a:moveTo>
                        <a:pt x="360039" y="288012"/>
                      </a:moveTo>
                      <a:lnTo>
                        <a:pt x="358718" y="288012"/>
                      </a:lnTo>
                      <a:lnTo>
                        <a:pt x="180100" y="150598"/>
                      </a:lnTo>
                      <a:lnTo>
                        <a:pt x="1481" y="288012"/>
                      </a:lnTo>
                      <a:lnTo>
                        <a:pt x="80" y="288012"/>
                      </a:lnTo>
                      <a:lnTo>
                        <a:pt x="80" y="144015"/>
                      </a:lnTo>
                      <a:lnTo>
                        <a:pt x="0" y="144015"/>
                      </a:lnTo>
                      <a:lnTo>
                        <a:pt x="0" y="0"/>
                      </a:lnTo>
                      <a:lnTo>
                        <a:pt x="360268" y="0"/>
                      </a:lnTo>
                      <a:lnTo>
                        <a:pt x="360268" y="144015"/>
                      </a:lnTo>
                      <a:lnTo>
                        <a:pt x="360039" y="144015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vert="horz" wrap="none" lIns="90000" tIns="46800" rIns="90000" bIns="468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>
                    <a:spcAft>
                      <a:spcPct val="100000"/>
                    </a:spcAft>
                    <a:buClr>
                      <a:schemeClr val="accent1"/>
                    </a:buClr>
                    <a:buFont typeface="Arial" charset="0"/>
                    <a:buNone/>
                  </a:pPr>
                  <a:endParaRPr lang="de-DE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47" name="Rechteck 60"/>
                <p:cNvSpPr/>
                <p:nvPr/>
              </p:nvSpPr>
              <p:spPr bwMode="auto">
                <a:xfrm>
                  <a:off x="5652420" y="5373216"/>
                  <a:ext cx="360607" cy="2880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0607" h="288032">
                      <a:moveTo>
                        <a:pt x="180587" y="0"/>
                      </a:moveTo>
                      <a:lnTo>
                        <a:pt x="360566" y="138461"/>
                      </a:lnTo>
                      <a:lnTo>
                        <a:pt x="360607" y="138461"/>
                      </a:lnTo>
                      <a:lnTo>
                        <a:pt x="360607" y="180000"/>
                      </a:lnTo>
                      <a:lnTo>
                        <a:pt x="360268" y="180000"/>
                      </a:lnTo>
                      <a:lnTo>
                        <a:pt x="360268" y="288032"/>
                      </a:lnTo>
                      <a:lnTo>
                        <a:pt x="0" y="288032"/>
                      </a:lnTo>
                      <a:lnTo>
                        <a:pt x="0" y="144016"/>
                      </a:lnTo>
                      <a:lnTo>
                        <a:pt x="648" y="144016"/>
                      </a:lnTo>
                      <a:lnTo>
                        <a:pt x="648" y="138461"/>
                      </a:lnTo>
                      <a:lnTo>
                        <a:pt x="607" y="138461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vert="horz" wrap="none" lIns="90000" tIns="46800" rIns="90000" bIns="468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>
                    <a:spcAft>
                      <a:spcPct val="100000"/>
                    </a:spcAft>
                    <a:buClr>
                      <a:schemeClr val="accent1"/>
                    </a:buClr>
                    <a:buFont typeface="Arial" charset="0"/>
                    <a:buNone/>
                  </a:pPr>
                  <a:endParaRPr lang="de-DE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48" name="Rechteck 62"/>
                <p:cNvSpPr/>
                <p:nvPr/>
              </p:nvSpPr>
              <p:spPr bwMode="auto">
                <a:xfrm>
                  <a:off x="7848436" y="5373235"/>
                  <a:ext cx="360268" cy="28801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0268" h="288013">
                      <a:moveTo>
                        <a:pt x="229" y="0"/>
                      </a:moveTo>
                      <a:lnTo>
                        <a:pt x="1550" y="0"/>
                      </a:lnTo>
                      <a:lnTo>
                        <a:pt x="180169" y="137414"/>
                      </a:lnTo>
                      <a:lnTo>
                        <a:pt x="358787" y="0"/>
                      </a:lnTo>
                      <a:lnTo>
                        <a:pt x="360188" y="0"/>
                      </a:lnTo>
                      <a:lnTo>
                        <a:pt x="360188" y="143997"/>
                      </a:lnTo>
                      <a:lnTo>
                        <a:pt x="360268" y="143997"/>
                      </a:lnTo>
                      <a:lnTo>
                        <a:pt x="360268" y="288013"/>
                      </a:lnTo>
                      <a:lnTo>
                        <a:pt x="0" y="288013"/>
                      </a:lnTo>
                      <a:lnTo>
                        <a:pt x="0" y="143997"/>
                      </a:lnTo>
                      <a:lnTo>
                        <a:pt x="229" y="143997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vert="horz" wrap="none" lIns="90000" tIns="46800" rIns="90000" bIns="468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>
                    <a:spcAft>
                      <a:spcPct val="100000"/>
                    </a:spcAft>
                    <a:buClr>
                      <a:schemeClr val="accent1"/>
                    </a:buClr>
                    <a:buFont typeface="Arial" charset="0"/>
                    <a:buNone/>
                  </a:pPr>
                  <a:endParaRPr lang="de-DE">
                    <a:latin typeface="Calibri" panose="020F0502020204030204" pitchFamily="34" charset="0"/>
                  </a:endParaRPr>
                </a:p>
              </p:txBody>
            </p:sp>
          </p:grpSp>
          <p:grpSp>
            <p:nvGrpSpPr>
              <p:cNvPr id="43" name="Gruppieren 42"/>
              <p:cNvGrpSpPr/>
              <p:nvPr/>
            </p:nvGrpSpPr>
            <p:grpSpPr>
              <a:xfrm>
                <a:off x="5651892" y="2168860"/>
                <a:ext cx="1800428" cy="324036"/>
                <a:chOff x="5651892" y="2168860"/>
                <a:chExt cx="1800428" cy="324036"/>
              </a:xfrm>
              <a:solidFill>
                <a:schemeClr val="accent3"/>
              </a:solidFill>
            </p:grpSpPr>
            <p:sp>
              <p:nvSpPr>
                <p:cNvPr id="44" name="Gleichschenkliges Dreieck 27"/>
                <p:cNvSpPr/>
                <p:nvPr/>
              </p:nvSpPr>
              <p:spPr>
                <a:xfrm rot="10800000">
                  <a:off x="7092052" y="2168900"/>
                  <a:ext cx="360268" cy="32399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0268" h="323996">
                      <a:moveTo>
                        <a:pt x="360268" y="323996"/>
                      </a:moveTo>
                      <a:lnTo>
                        <a:pt x="0" y="323996"/>
                      </a:lnTo>
                      <a:lnTo>
                        <a:pt x="0" y="143996"/>
                      </a:lnTo>
                      <a:lnTo>
                        <a:pt x="81" y="143996"/>
                      </a:lnTo>
                      <a:lnTo>
                        <a:pt x="81" y="138462"/>
                      </a:lnTo>
                      <a:lnTo>
                        <a:pt x="40" y="138462"/>
                      </a:lnTo>
                      <a:lnTo>
                        <a:pt x="180020" y="0"/>
                      </a:lnTo>
                      <a:lnTo>
                        <a:pt x="359999" y="138462"/>
                      </a:lnTo>
                      <a:lnTo>
                        <a:pt x="360040" y="138462"/>
                      </a:lnTo>
                      <a:lnTo>
                        <a:pt x="360040" y="143996"/>
                      </a:lnTo>
                      <a:lnTo>
                        <a:pt x="360268" y="143996"/>
                      </a:lnTo>
                      <a:close/>
                    </a:path>
                  </a:pathLst>
                </a:custGeom>
                <a:grpFill/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vert="horz" wrap="none" lIns="90000" tIns="46800" rIns="90000" bIns="468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>
                    <a:spcAft>
                      <a:spcPct val="100000"/>
                    </a:spcAft>
                    <a:buClr>
                      <a:schemeClr val="accent1"/>
                    </a:buClr>
                    <a:buFont typeface="Arial" charset="0"/>
                    <a:buNone/>
                  </a:pPr>
                  <a:endParaRPr lang="de-DE" dirty="0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45" name="Rechteck 58"/>
                <p:cNvSpPr/>
                <p:nvPr/>
              </p:nvSpPr>
              <p:spPr bwMode="auto">
                <a:xfrm>
                  <a:off x="5651892" y="2168860"/>
                  <a:ext cx="360268" cy="32403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0268" h="324036">
                      <a:moveTo>
                        <a:pt x="0" y="0"/>
                      </a:moveTo>
                      <a:lnTo>
                        <a:pt x="360268" y="0"/>
                      </a:lnTo>
                      <a:lnTo>
                        <a:pt x="360268" y="144036"/>
                      </a:lnTo>
                      <a:lnTo>
                        <a:pt x="360268" y="180020"/>
                      </a:lnTo>
                      <a:lnTo>
                        <a:pt x="360268" y="324036"/>
                      </a:lnTo>
                      <a:lnTo>
                        <a:pt x="358947" y="324036"/>
                      </a:lnTo>
                      <a:lnTo>
                        <a:pt x="180329" y="186622"/>
                      </a:lnTo>
                      <a:lnTo>
                        <a:pt x="1710" y="324036"/>
                      </a:lnTo>
                      <a:lnTo>
                        <a:pt x="309" y="324036"/>
                      </a:lnTo>
                      <a:lnTo>
                        <a:pt x="309" y="180020"/>
                      </a:lnTo>
                      <a:lnTo>
                        <a:pt x="0" y="180020"/>
                      </a:lnTo>
                      <a:close/>
                    </a:path>
                  </a:pathLst>
                </a:custGeom>
                <a:grpFill/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vert="horz" wrap="none" lIns="90000" tIns="46800" rIns="90000" bIns="468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>
                    <a:spcAft>
                      <a:spcPct val="100000"/>
                    </a:spcAft>
                    <a:buClr>
                      <a:schemeClr val="accent1"/>
                    </a:buClr>
                    <a:buFont typeface="Arial" charset="0"/>
                    <a:buNone/>
                  </a:pPr>
                  <a:endParaRPr lang="de-DE">
                    <a:latin typeface="Calibri" panose="020F0502020204030204" pitchFamily="34" charset="0"/>
                  </a:endParaRPr>
                </a:p>
              </p:txBody>
            </p:sp>
          </p:grpSp>
        </p:grpSp>
        <p:grpSp>
          <p:nvGrpSpPr>
            <p:cNvPr id="12" name="Gruppieren 11"/>
            <p:cNvGrpSpPr/>
            <p:nvPr/>
          </p:nvGrpSpPr>
          <p:grpSpPr>
            <a:xfrm>
              <a:off x="5399752" y="2312511"/>
              <a:ext cx="3060340" cy="3600400"/>
              <a:chOff x="5472100" y="2132856"/>
              <a:chExt cx="3060340" cy="3600400"/>
            </a:xfrm>
          </p:grpSpPr>
          <p:sp>
            <p:nvSpPr>
              <p:cNvPr id="37" name="Rechteck 36"/>
              <p:cNvSpPr/>
              <p:nvPr/>
            </p:nvSpPr>
            <p:spPr bwMode="auto">
              <a:xfrm>
                <a:off x="5472102" y="5445256"/>
                <a:ext cx="3060338" cy="288000"/>
              </a:xfrm>
              <a:prstGeom prst="rect">
                <a:avLst/>
              </a:prstGeom>
              <a:gradFill>
                <a:gsLst>
                  <a:gs pos="0">
                    <a:schemeClr val="bg1">
                      <a:alpha val="0"/>
                    </a:schemeClr>
                  </a:gs>
                  <a:gs pos="75000">
                    <a:schemeClr val="bg1"/>
                  </a:gs>
                </a:gsLst>
                <a:lin ang="5400000" scaled="0"/>
              </a:gradFill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spcAft>
                    <a:spcPct val="100000"/>
                  </a:spcAft>
                  <a:buClr>
                    <a:schemeClr val="accent1"/>
                  </a:buClr>
                  <a:buFont typeface="Arial" charset="0"/>
                  <a:buNone/>
                </a:pPr>
                <a:endParaRPr lang="de-DE">
                  <a:latin typeface="Calibri" panose="020F0502020204030204" pitchFamily="34" charset="0"/>
                </a:endParaRPr>
              </a:p>
            </p:txBody>
          </p:sp>
          <p:sp>
            <p:nvSpPr>
              <p:cNvPr id="38" name="Rechteck 37"/>
              <p:cNvSpPr/>
              <p:nvPr/>
            </p:nvSpPr>
            <p:spPr bwMode="auto">
              <a:xfrm>
                <a:off x="5472100" y="2132856"/>
                <a:ext cx="3060338" cy="288000"/>
              </a:xfrm>
              <a:prstGeom prst="rect">
                <a:avLst/>
              </a:prstGeom>
              <a:gradFill>
                <a:gsLst>
                  <a:gs pos="100000">
                    <a:schemeClr val="bg1">
                      <a:alpha val="0"/>
                    </a:schemeClr>
                  </a:gs>
                  <a:gs pos="25000">
                    <a:schemeClr val="bg1"/>
                  </a:gs>
                </a:gsLst>
                <a:lin ang="5400000" scaled="0"/>
              </a:gradFill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spcAft>
                    <a:spcPct val="100000"/>
                  </a:spcAft>
                  <a:buClr>
                    <a:schemeClr val="accent1"/>
                  </a:buClr>
                  <a:buFont typeface="Arial" charset="0"/>
                  <a:buNone/>
                </a:pPr>
                <a:endParaRPr lang="de-DE">
                  <a:latin typeface="Calibri" panose="020F0502020204030204" pitchFamily="34" charset="0"/>
                </a:endParaRPr>
              </a:p>
            </p:txBody>
          </p:sp>
          <p:sp>
            <p:nvSpPr>
              <p:cNvPr id="39" name="Rechteck 38"/>
              <p:cNvSpPr/>
              <p:nvPr/>
            </p:nvSpPr>
            <p:spPr bwMode="auto">
              <a:xfrm>
                <a:off x="5472100" y="2133256"/>
                <a:ext cx="3060000" cy="3600000"/>
              </a:xfrm>
              <a:prstGeom prst="rect">
                <a:avLst/>
              </a:prstGeom>
              <a:noFill/>
              <a:ln w="38100" cap="flat" cmpd="sng" algn="ctr">
                <a:solidFill>
                  <a:srgbClr val="89BA17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charset="0"/>
                  <a:buNone/>
                  <a:tabLst/>
                </a:pPr>
                <a:endParaRPr kumimoji="0" lang="de-DE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</p:grpSp>
        <p:grpSp>
          <p:nvGrpSpPr>
            <p:cNvPr id="13" name="Gruppieren 12"/>
            <p:cNvGrpSpPr/>
            <p:nvPr/>
          </p:nvGrpSpPr>
          <p:grpSpPr>
            <a:xfrm>
              <a:off x="395196" y="1412091"/>
              <a:ext cx="1440160" cy="1440040"/>
              <a:chOff x="467544" y="1052856"/>
              <a:chExt cx="1440160" cy="1440040"/>
            </a:xfrm>
          </p:grpSpPr>
          <p:sp>
            <p:nvSpPr>
              <p:cNvPr id="34" name="Gleichschenkliges Dreieck 27"/>
              <p:cNvSpPr/>
              <p:nvPr/>
            </p:nvSpPr>
            <p:spPr>
              <a:xfrm rot="5400000">
                <a:off x="467626" y="1052818"/>
                <a:ext cx="1440036" cy="1440120"/>
              </a:xfrm>
              <a:custGeom>
                <a:avLst/>
                <a:gdLst/>
                <a:ahLst/>
                <a:cxnLst/>
                <a:rect l="l" t="t" r="r" b="b"/>
                <a:pathLst>
                  <a:path w="1440036" h="1440120">
                    <a:moveTo>
                      <a:pt x="0" y="1440040"/>
                    </a:moveTo>
                    <a:lnTo>
                      <a:pt x="0" y="360040"/>
                    </a:lnTo>
                    <a:lnTo>
                      <a:pt x="1079771" y="360040"/>
                    </a:lnTo>
                    <a:lnTo>
                      <a:pt x="1079771" y="217201"/>
                    </a:lnTo>
                    <a:lnTo>
                      <a:pt x="1079771" y="199201"/>
                    </a:lnTo>
                    <a:lnTo>
                      <a:pt x="1079771" y="195601"/>
                    </a:lnTo>
                    <a:lnTo>
                      <a:pt x="1080036" y="195601"/>
                    </a:lnTo>
                    <a:lnTo>
                      <a:pt x="1080036" y="179981"/>
                    </a:lnTo>
                    <a:lnTo>
                      <a:pt x="1080077" y="179981"/>
                    </a:lnTo>
                    <a:lnTo>
                      <a:pt x="1080077" y="138447"/>
                    </a:lnTo>
                    <a:lnTo>
                      <a:pt x="1080036" y="138447"/>
                    </a:lnTo>
                    <a:lnTo>
                      <a:pt x="1260016" y="0"/>
                    </a:lnTo>
                    <a:lnTo>
                      <a:pt x="1439995" y="138447"/>
                    </a:lnTo>
                    <a:lnTo>
                      <a:pt x="1440036" y="138447"/>
                    </a:lnTo>
                    <a:lnTo>
                      <a:pt x="1440036" y="179981"/>
                    </a:lnTo>
                    <a:lnTo>
                      <a:pt x="1440036" y="197981"/>
                    </a:lnTo>
                    <a:lnTo>
                      <a:pt x="1439772" y="197981"/>
                    </a:lnTo>
                    <a:lnTo>
                      <a:pt x="1439772" y="217201"/>
                    </a:lnTo>
                    <a:lnTo>
                      <a:pt x="1439771" y="217201"/>
                    </a:lnTo>
                    <a:lnTo>
                      <a:pt x="1439771" y="396044"/>
                    </a:lnTo>
                    <a:lnTo>
                      <a:pt x="1439996" y="396044"/>
                    </a:lnTo>
                    <a:lnTo>
                      <a:pt x="1439996" y="1080120"/>
                    </a:lnTo>
                    <a:lnTo>
                      <a:pt x="1440036" y="1080120"/>
                    </a:lnTo>
                    <a:lnTo>
                      <a:pt x="1440036" y="1260120"/>
                    </a:lnTo>
                    <a:cubicBezTo>
                      <a:pt x="1440036" y="1359531"/>
                      <a:pt x="1359447" y="1440120"/>
                      <a:pt x="1260036" y="1440120"/>
                    </a:cubicBezTo>
                    <a:lnTo>
                      <a:pt x="1080036" y="1440120"/>
                    </a:lnTo>
                    <a:lnTo>
                      <a:pt x="1080036" y="1440040"/>
                    </a:lnTo>
                    <a:close/>
                  </a:path>
                </a:pathLst>
              </a:custGeom>
              <a:solidFill>
                <a:schemeClr val="accent1"/>
              </a:solidFill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vert="horz" wrap="non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spcAft>
                    <a:spcPct val="100000"/>
                  </a:spcAft>
                  <a:buClr>
                    <a:schemeClr val="accent1"/>
                  </a:buClr>
                  <a:buFont typeface="Arial" charset="0"/>
                  <a:buNone/>
                </a:pPr>
                <a:endParaRPr lang="de-DE" dirty="0">
                  <a:solidFill>
                    <a:schemeClr val="tx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35" name="Textfeld 34"/>
              <p:cNvSpPr txBox="1"/>
              <p:nvPr/>
            </p:nvSpPr>
            <p:spPr>
              <a:xfrm>
                <a:off x="647664" y="2132896"/>
                <a:ext cx="900000" cy="360000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1">
                <a:normAutofit/>
              </a:bodyPr>
              <a:lstStyle>
                <a:defPPr>
                  <a:defRPr lang="de-DE"/>
                </a:defPPr>
                <a:lvl1pPr algn="ctr">
                  <a:defRPr sz="1300" b="1">
                    <a:solidFill>
                      <a:schemeClr val="bg1"/>
                    </a:solidFill>
                    <a:latin typeface="Calibri" panose="020F0502020204030204" pitchFamily="34" charset="0"/>
                  </a:defRPr>
                </a:lvl1pPr>
              </a:lstStyle>
              <a:p>
                <a:r>
                  <a:rPr lang="de-DE" dirty="0" smtClean="0"/>
                  <a:t>Input Data</a:t>
                </a:r>
                <a:endParaRPr lang="de-DE" dirty="0"/>
              </a:p>
            </p:txBody>
          </p:sp>
          <p:sp>
            <p:nvSpPr>
              <p:cNvPr id="36" name="Textfeld 35"/>
              <p:cNvSpPr txBox="1"/>
              <p:nvPr/>
            </p:nvSpPr>
            <p:spPr>
              <a:xfrm>
                <a:off x="467544" y="1052856"/>
                <a:ext cx="1080000" cy="1080000"/>
              </a:xfrm>
              <a:prstGeom prst="rect">
                <a:avLst/>
              </a:prstGeom>
              <a:noFill/>
            </p:spPr>
            <p:txBody>
              <a:bodyPr wrap="none" lIns="0" tIns="0" rIns="0" bIns="0" rtlCol="0" anchor="ctr" anchorCtr="0">
                <a:normAutofit fontScale="92500" lnSpcReduction="20000"/>
              </a:bodyPr>
              <a:lstStyle>
                <a:defPPr>
                  <a:defRPr lang="de-DE"/>
                </a:defPPr>
                <a:lvl1pPr algn="ctr">
                  <a:defRPr sz="1300" b="1">
                    <a:solidFill>
                      <a:schemeClr val="bg1"/>
                    </a:solidFill>
                    <a:latin typeface="Calibri" panose="020F0502020204030204" pitchFamily="34" charset="0"/>
                  </a:defRPr>
                </a:lvl1pPr>
              </a:lstStyle>
              <a:p>
                <a:pPr algn="l">
                  <a:spcAft>
                    <a:spcPts val="300"/>
                  </a:spcAft>
                </a:pPr>
                <a:r>
                  <a:rPr lang="en-US" sz="1000" dirty="0"/>
                  <a:t>- Measuring Data</a:t>
                </a:r>
              </a:p>
              <a:p>
                <a:pPr algn="l">
                  <a:spcAft>
                    <a:spcPts val="300"/>
                  </a:spcAft>
                </a:pPr>
                <a:r>
                  <a:rPr lang="en-US" sz="1000" dirty="0"/>
                  <a:t>- Switching States</a:t>
                </a:r>
              </a:p>
              <a:p>
                <a:pPr algn="l">
                  <a:spcAft>
                    <a:spcPts val="300"/>
                  </a:spcAft>
                </a:pPr>
                <a:r>
                  <a:rPr lang="en-US" sz="1000" dirty="0"/>
                  <a:t>- </a:t>
                </a:r>
                <a:r>
                  <a:rPr lang="en-US" sz="1000" dirty="0" smtClean="0"/>
                  <a:t>Weather </a:t>
                </a:r>
                <a:r>
                  <a:rPr lang="en-US" sz="1000" dirty="0"/>
                  <a:t>Data / </a:t>
                </a:r>
                <a:r>
                  <a:rPr lang="en-US" sz="1000" dirty="0" smtClean="0"/>
                  <a:t/>
                </a:r>
                <a:br>
                  <a:rPr lang="en-US" sz="1000" dirty="0" smtClean="0"/>
                </a:br>
                <a:r>
                  <a:rPr lang="en-US" sz="1000" dirty="0" smtClean="0"/>
                  <a:t>Prognosis</a:t>
                </a:r>
                <a:endParaRPr lang="en-US" sz="1000" dirty="0"/>
              </a:p>
              <a:p>
                <a:pPr algn="l">
                  <a:spcAft>
                    <a:spcPts val="300"/>
                  </a:spcAft>
                </a:pPr>
                <a:r>
                  <a:rPr lang="en-US" sz="1000" dirty="0"/>
                  <a:t>- Historical Data</a:t>
                </a:r>
                <a:br>
                  <a:rPr lang="en-US" sz="1000" dirty="0"/>
                </a:br>
                <a:r>
                  <a:rPr lang="en-US" sz="1000" dirty="0"/>
                  <a:t>- Schedules of </a:t>
                </a:r>
                <a:r>
                  <a:rPr lang="en-US" sz="1000" dirty="0" smtClean="0"/>
                  <a:t/>
                </a:r>
                <a:br>
                  <a:rPr lang="en-US" sz="1000" dirty="0" smtClean="0"/>
                </a:br>
                <a:r>
                  <a:rPr lang="en-US" sz="1000" dirty="0" smtClean="0"/>
                  <a:t>Flexibility</a:t>
                </a:r>
                <a:endParaRPr lang="en-US" sz="1000" dirty="0"/>
              </a:p>
              <a:p>
                <a:pPr algn="l">
                  <a:spcAft>
                    <a:spcPts val="300"/>
                  </a:spcAft>
                </a:pPr>
                <a:r>
                  <a:rPr lang="en-US" sz="1000" dirty="0"/>
                  <a:t>- …</a:t>
                </a:r>
              </a:p>
            </p:txBody>
          </p:sp>
        </p:grpSp>
        <p:grpSp>
          <p:nvGrpSpPr>
            <p:cNvPr id="14" name="Gruppieren 13"/>
            <p:cNvGrpSpPr/>
            <p:nvPr/>
          </p:nvGrpSpPr>
          <p:grpSpPr>
            <a:xfrm>
              <a:off x="2195396" y="3212171"/>
              <a:ext cx="2520840" cy="2161364"/>
              <a:chOff x="2267744" y="2852936"/>
              <a:chExt cx="2520840" cy="2161364"/>
            </a:xfrm>
          </p:grpSpPr>
          <p:grpSp>
            <p:nvGrpSpPr>
              <p:cNvPr id="26" name="Gruppieren 25"/>
              <p:cNvGrpSpPr/>
              <p:nvPr/>
            </p:nvGrpSpPr>
            <p:grpSpPr>
              <a:xfrm>
                <a:off x="2267744" y="2852936"/>
                <a:ext cx="2520840" cy="2161364"/>
                <a:chOff x="2267744" y="2852936"/>
                <a:chExt cx="2520840" cy="2161364"/>
              </a:xfrm>
            </p:grpSpPr>
            <p:sp>
              <p:nvSpPr>
                <p:cNvPr id="31" name="Rechteck 100"/>
                <p:cNvSpPr/>
                <p:nvPr/>
              </p:nvSpPr>
              <p:spPr bwMode="auto">
                <a:xfrm>
                  <a:off x="2267744" y="3753036"/>
                  <a:ext cx="2520000" cy="72000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20000" h="722381">
                      <a:moveTo>
                        <a:pt x="180245" y="0"/>
                      </a:moveTo>
                      <a:lnTo>
                        <a:pt x="360224" y="138447"/>
                      </a:lnTo>
                      <a:lnTo>
                        <a:pt x="360265" y="138447"/>
                      </a:lnTo>
                      <a:lnTo>
                        <a:pt x="360265" y="179981"/>
                      </a:lnTo>
                      <a:lnTo>
                        <a:pt x="360265" y="181184"/>
                      </a:lnTo>
                      <a:lnTo>
                        <a:pt x="1079213" y="181184"/>
                      </a:lnTo>
                      <a:lnTo>
                        <a:pt x="1079213" y="178763"/>
                      </a:lnTo>
                      <a:lnTo>
                        <a:pt x="1079255" y="178763"/>
                      </a:lnTo>
                      <a:lnTo>
                        <a:pt x="1079255" y="1124"/>
                      </a:lnTo>
                      <a:lnTo>
                        <a:pt x="1080576" y="1124"/>
                      </a:lnTo>
                      <a:lnTo>
                        <a:pt x="1259195" y="138524"/>
                      </a:lnTo>
                      <a:lnTo>
                        <a:pt x="1437813" y="1124"/>
                      </a:lnTo>
                      <a:lnTo>
                        <a:pt x="1439214" y="1124"/>
                      </a:lnTo>
                      <a:lnTo>
                        <a:pt x="1439214" y="181105"/>
                      </a:lnTo>
                      <a:lnTo>
                        <a:pt x="1439213" y="181105"/>
                      </a:lnTo>
                      <a:lnTo>
                        <a:pt x="1439213" y="181184"/>
                      </a:lnTo>
                      <a:lnTo>
                        <a:pt x="2520000" y="181184"/>
                      </a:lnTo>
                      <a:lnTo>
                        <a:pt x="2520000" y="541184"/>
                      </a:lnTo>
                      <a:lnTo>
                        <a:pt x="1439215" y="541184"/>
                      </a:lnTo>
                      <a:lnTo>
                        <a:pt x="1439215" y="542400"/>
                      </a:lnTo>
                      <a:lnTo>
                        <a:pt x="1439174" y="542400"/>
                      </a:lnTo>
                      <a:lnTo>
                        <a:pt x="1439174" y="583934"/>
                      </a:lnTo>
                      <a:lnTo>
                        <a:pt x="1439215" y="583934"/>
                      </a:lnTo>
                      <a:lnTo>
                        <a:pt x="1259235" y="722381"/>
                      </a:lnTo>
                      <a:lnTo>
                        <a:pt x="1079256" y="583934"/>
                      </a:lnTo>
                      <a:lnTo>
                        <a:pt x="1079215" y="583934"/>
                      </a:lnTo>
                      <a:lnTo>
                        <a:pt x="1079215" y="542400"/>
                      </a:lnTo>
                      <a:lnTo>
                        <a:pt x="1079215" y="541184"/>
                      </a:lnTo>
                      <a:lnTo>
                        <a:pt x="360267" y="541184"/>
                      </a:lnTo>
                      <a:lnTo>
                        <a:pt x="360267" y="543618"/>
                      </a:lnTo>
                      <a:lnTo>
                        <a:pt x="360225" y="543618"/>
                      </a:lnTo>
                      <a:lnTo>
                        <a:pt x="360225" y="721257"/>
                      </a:lnTo>
                      <a:lnTo>
                        <a:pt x="358904" y="721257"/>
                      </a:lnTo>
                      <a:lnTo>
                        <a:pt x="180285" y="583857"/>
                      </a:lnTo>
                      <a:lnTo>
                        <a:pt x="1667" y="721257"/>
                      </a:lnTo>
                      <a:lnTo>
                        <a:pt x="266" y="721257"/>
                      </a:lnTo>
                      <a:lnTo>
                        <a:pt x="266" y="541276"/>
                      </a:lnTo>
                      <a:lnTo>
                        <a:pt x="267" y="541276"/>
                      </a:lnTo>
                      <a:lnTo>
                        <a:pt x="267" y="541184"/>
                      </a:lnTo>
                      <a:lnTo>
                        <a:pt x="0" y="541184"/>
                      </a:lnTo>
                      <a:lnTo>
                        <a:pt x="0" y="526780"/>
                      </a:lnTo>
                      <a:lnTo>
                        <a:pt x="0" y="505180"/>
                      </a:lnTo>
                      <a:lnTo>
                        <a:pt x="0" y="217201"/>
                      </a:lnTo>
                      <a:lnTo>
                        <a:pt x="0" y="195601"/>
                      </a:lnTo>
                      <a:lnTo>
                        <a:pt x="0" y="181184"/>
                      </a:lnTo>
                      <a:lnTo>
                        <a:pt x="265" y="181184"/>
                      </a:lnTo>
                      <a:lnTo>
                        <a:pt x="265" y="179981"/>
                      </a:lnTo>
                      <a:lnTo>
                        <a:pt x="306" y="179981"/>
                      </a:lnTo>
                      <a:lnTo>
                        <a:pt x="306" y="138447"/>
                      </a:lnTo>
                      <a:lnTo>
                        <a:pt x="265" y="138447"/>
                      </a:lnTo>
                      <a:close/>
                    </a:path>
                  </a:pathLst>
                </a:custGeom>
                <a:solidFill>
                  <a:srgbClr val="FFFF00"/>
                </a:solidFill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xtLst/>
              </p:spPr>
              <p:txBody>
                <a:bodyPr vert="horz" wrap="none" lIns="90000" tIns="46800" rIns="90000" bIns="468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>
                    <a:spcAft>
                      <a:spcPct val="100000"/>
                    </a:spcAft>
                    <a:buClr>
                      <a:schemeClr val="accent1"/>
                    </a:buClr>
                    <a:buFont typeface="Arial" charset="0"/>
                    <a:buNone/>
                  </a:pPr>
                  <a:endParaRPr lang="de-DE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32" name="Rechteck 100"/>
                <p:cNvSpPr/>
                <p:nvPr/>
              </p:nvSpPr>
              <p:spPr bwMode="auto">
                <a:xfrm>
                  <a:off x="2267744" y="4473116"/>
                  <a:ext cx="2520036" cy="541184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20036" h="541184">
                      <a:moveTo>
                        <a:pt x="180245" y="0"/>
                      </a:moveTo>
                      <a:lnTo>
                        <a:pt x="360224" y="138447"/>
                      </a:lnTo>
                      <a:lnTo>
                        <a:pt x="360265" y="138447"/>
                      </a:lnTo>
                      <a:lnTo>
                        <a:pt x="360265" y="179981"/>
                      </a:lnTo>
                      <a:lnTo>
                        <a:pt x="360265" y="181184"/>
                      </a:lnTo>
                      <a:lnTo>
                        <a:pt x="1079213" y="181184"/>
                      </a:lnTo>
                      <a:lnTo>
                        <a:pt x="1079213" y="178763"/>
                      </a:lnTo>
                      <a:lnTo>
                        <a:pt x="1079255" y="178763"/>
                      </a:lnTo>
                      <a:lnTo>
                        <a:pt x="1079255" y="1124"/>
                      </a:lnTo>
                      <a:lnTo>
                        <a:pt x="1080576" y="1124"/>
                      </a:lnTo>
                      <a:lnTo>
                        <a:pt x="1259195" y="138524"/>
                      </a:lnTo>
                      <a:lnTo>
                        <a:pt x="1437813" y="1124"/>
                      </a:lnTo>
                      <a:lnTo>
                        <a:pt x="1439214" y="1124"/>
                      </a:lnTo>
                      <a:lnTo>
                        <a:pt x="1439214" y="181105"/>
                      </a:lnTo>
                      <a:lnTo>
                        <a:pt x="1439213" y="181105"/>
                      </a:lnTo>
                      <a:lnTo>
                        <a:pt x="1439213" y="181184"/>
                      </a:lnTo>
                      <a:lnTo>
                        <a:pt x="2520036" y="181184"/>
                      </a:lnTo>
                      <a:lnTo>
                        <a:pt x="2520036" y="541184"/>
                      </a:lnTo>
                      <a:lnTo>
                        <a:pt x="360040" y="541184"/>
                      </a:lnTo>
                      <a:lnTo>
                        <a:pt x="324036" y="541184"/>
                      </a:lnTo>
                      <a:lnTo>
                        <a:pt x="180040" y="541184"/>
                      </a:lnTo>
                      <a:cubicBezTo>
                        <a:pt x="80629" y="541184"/>
                        <a:pt x="40" y="460595"/>
                        <a:pt x="40" y="361184"/>
                      </a:cubicBezTo>
                      <a:lnTo>
                        <a:pt x="40" y="217201"/>
                      </a:lnTo>
                      <a:lnTo>
                        <a:pt x="0" y="217201"/>
                      </a:lnTo>
                      <a:lnTo>
                        <a:pt x="0" y="195601"/>
                      </a:lnTo>
                      <a:lnTo>
                        <a:pt x="40" y="195601"/>
                      </a:lnTo>
                      <a:lnTo>
                        <a:pt x="40" y="181184"/>
                      </a:lnTo>
                      <a:lnTo>
                        <a:pt x="265" y="181184"/>
                      </a:lnTo>
                      <a:lnTo>
                        <a:pt x="265" y="179981"/>
                      </a:lnTo>
                      <a:lnTo>
                        <a:pt x="306" y="179981"/>
                      </a:lnTo>
                      <a:lnTo>
                        <a:pt x="306" y="138447"/>
                      </a:lnTo>
                      <a:lnTo>
                        <a:pt x="265" y="138447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xtLst/>
              </p:spPr>
              <p:txBody>
                <a:bodyPr vert="horz" wrap="none" lIns="90000" tIns="46800" rIns="90000" bIns="468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>
                    <a:spcAft>
                      <a:spcPct val="100000"/>
                    </a:spcAft>
                    <a:buClr>
                      <a:schemeClr val="accent1"/>
                    </a:buClr>
                    <a:buFont typeface="Arial" charset="0"/>
                    <a:buNone/>
                  </a:pPr>
                  <a:endParaRPr lang="de-DE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33" name="Rechteck 23"/>
                <p:cNvSpPr/>
                <p:nvPr/>
              </p:nvSpPr>
              <p:spPr>
                <a:xfrm flipH="1">
                  <a:off x="2267744" y="2852936"/>
                  <a:ext cx="2520840" cy="90247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20840" h="902478">
                      <a:moveTo>
                        <a:pt x="2339463" y="0"/>
                      </a:moveTo>
                      <a:lnTo>
                        <a:pt x="2159484" y="138447"/>
                      </a:lnTo>
                      <a:lnTo>
                        <a:pt x="2159443" y="138447"/>
                      </a:lnTo>
                      <a:lnTo>
                        <a:pt x="2159443" y="179981"/>
                      </a:lnTo>
                      <a:lnTo>
                        <a:pt x="2159443" y="181221"/>
                      </a:lnTo>
                      <a:lnTo>
                        <a:pt x="2159441" y="181221"/>
                      </a:lnTo>
                      <a:lnTo>
                        <a:pt x="2159441" y="361241"/>
                      </a:lnTo>
                      <a:lnTo>
                        <a:pt x="1440001" y="361241"/>
                      </a:lnTo>
                      <a:lnTo>
                        <a:pt x="1440001" y="217225"/>
                      </a:lnTo>
                      <a:lnTo>
                        <a:pt x="1441134" y="217225"/>
                      </a:lnTo>
                      <a:lnTo>
                        <a:pt x="1441134" y="200387"/>
                      </a:lnTo>
                      <a:lnTo>
                        <a:pt x="1441401" y="200387"/>
                      </a:lnTo>
                      <a:lnTo>
                        <a:pt x="1441401" y="178787"/>
                      </a:lnTo>
                      <a:lnTo>
                        <a:pt x="1441359" y="178787"/>
                      </a:lnTo>
                      <a:lnTo>
                        <a:pt x="1441359" y="1148"/>
                      </a:lnTo>
                      <a:lnTo>
                        <a:pt x="1440038" y="1148"/>
                      </a:lnTo>
                      <a:lnTo>
                        <a:pt x="1261419" y="138548"/>
                      </a:lnTo>
                      <a:lnTo>
                        <a:pt x="1082801" y="1148"/>
                      </a:lnTo>
                      <a:lnTo>
                        <a:pt x="1081400" y="1148"/>
                      </a:lnTo>
                      <a:lnTo>
                        <a:pt x="1081400" y="181129"/>
                      </a:lnTo>
                      <a:lnTo>
                        <a:pt x="1081401" y="181129"/>
                      </a:lnTo>
                      <a:lnTo>
                        <a:pt x="1081401" y="181221"/>
                      </a:lnTo>
                      <a:lnTo>
                        <a:pt x="1080001" y="181221"/>
                      </a:lnTo>
                      <a:lnTo>
                        <a:pt x="1080001" y="361241"/>
                      </a:lnTo>
                      <a:lnTo>
                        <a:pt x="0" y="361241"/>
                      </a:lnTo>
                      <a:lnTo>
                        <a:pt x="0" y="721241"/>
                      </a:lnTo>
                      <a:lnTo>
                        <a:pt x="1081625" y="721241"/>
                      </a:lnTo>
                      <a:lnTo>
                        <a:pt x="1081625" y="722497"/>
                      </a:lnTo>
                      <a:lnTo>
                        <a:pt x="1081666" y="722497"/>
                      </a:lnTo>
                      <a:lnTo>
                        <a:pt x="1081666" y="764031"/>
                      </a:lnTo>
                      <a:lnTo>
                        <a:pt x="1081625" y="764031"/>
                      </a:lnTo>
                      <a:lnTo>
                        <a:pt x="1261605" y="902478"/>
                      </a:lnTo>
                      <a:lnTo>
                        <a:pt x="1441584" y="764031"/>
                      </a:lnTo>
                      <a:lnTo>
                        <a:pt x="1441625" y="764031"/>
                      </a:lnTo>
                      <a:lnTo>
                        <a:pt x="1441625" y="722497"/>
                      </a:lnTo>
                      <a:lnTo>
                        <a:pt x="1441625" y="721241"/>
                      </a:lnTo>
                      <a:lnTo>
                        <a:pt x="2160573" y="721241"/>
                      </a:lnTo>
                      <a:lnTo>
                        <a:pt x="2160573" y="723715"/>
                      </a:lnTo>
                      <a:lnTo>
                        <a:pt x="2160615" y="723715"/>
                      </a:lnTo>
                      <a:lnTo>
                        <a:pt x="2160615" y="901354"/>
                      </a:lnTo>
                      <a:lnTo>
                        <a:pt x="2161936" y="901354"/>
                      </a:lnTo>
                      <a:lnTo>
                        <a:pt x="2340555" y="763954"/>
                      </a:lnTo>
                      <a:lnTo>
                        <a:pt x="2519173" y="901354"/>
                      </a:lnTo>
                      <a:lnTo>
                        <a:pt x="2520574" y="901354"/>
                      </a:lnTo>
                      <a:lnTo>
                        <a:pt x="2520574" y="721373"/>
                      </a:lnTo>
                      <a:lnTo>
                        <a:pt x="2520573" y="721373"/>
                      </a:lnTo>
                      <a:lnTo>
                        <a:pt x="2520573" y="706877"/>
                      </a:lnTo>
                      <a:lnTo>
                        <a:pt x="2520840" y="706877"/>
                      </a:lnTo>
                      <a:lnTo>
                        <a:pt x="2520840" y="685277"/>
                      </a:lnTo>
                      <a:lnTo>
                        <a:pt x="2520000" y="685277"/>
                      </a:lnTo>
                      <a:lnTo>
                        <a:pt x="2520000" y="361241"/>
                      </a:lnTo>
                      <a:lnTo>
                        <a:pt x="2519441" y="361241"/>
                      </a:lnTo>
                      <a:lnTo>
                        <a:pt x="2519441" y="217201"/>
                      </a:lnTo>
                      <a:lnTo>
                        <a:pt x="2519708" y="217201"/>
                      </a:lnTo>
                      <a:lnTo>
                        <a:pt x="2519708" y="195601"/>
                      </a:lnTo>
                      <a:lnTo>
                        <a:pt x="2519443" y="195601"/>
                      </a:lnTo>
                      <a:lnTo>
                        <a:pt x="2519443" y="179981"/>
                      </a:lnTo>
                      <a:lnTo>
                        <a:pt x="2519402" y="179981"/>
                      </a:lnTo>
                      <a:lnTo>
                        <a:pt x="2519402" y="138447"/>
                      </a:lnTo>
                      <a:lnTo>
                        <a:pt x="2519443" y="138447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vert="horz" wrap="none" lIns="90000" tIns="46800" rIns="90000" bIns="468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>
                    <a:spcAft>
                      <a:spcPct val="100000"/>
                    </a:spcAft>
                    <a:buClr>
                      <a:schemeClr val="accent1"/>
                    </a:buClr>
                    <a:buFont typeface="Arial" charset="0"/>
                    <a:buNone/>
                  </a:pPr>
                  <a:endParaRPr lang="de-DE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</p:grpSp>
          <p:grpSp>
            <p:nvGrpSpPr>
              <p:cNvPr id="27" name="Gruppieren 26"/>
              <p:cNvGrpSpPr/>
              <p:nvPr/>
            </p:nvGrpSpPr>
            <p:grpSpPr>
              <a:xfrm>
                <a:off x="2627784" y="3212976"/>
                <a:ext cx="1980000" cy="1799611"/>
                <a:chOff x="2627784" y="3212976"/>
                <a:chExt cx="1980000" cy="1799611"/>
              </a:xfrm>
            </p:grpSpPr>
            <p:sp>
              <p:nvSpPr>
                <p:cNvPr id="28" name="Textfeld 27"/>
                <p:cNvSpPr txBox="1"/>
                <p:nvPr/>
              </p:nvSpPr>
              <p:spPr>
                <a:xfrm>
                  <a:off x="2627784" y="3933056"/>
                  <a:ext cx="1800000" cy="360000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 anchorCtr="1">
                  <a:normAutofit/>
                </a:bodyPr>
                <a:lstStyle>
                  <a:defPPr>
                    <a:defRPr lang="de-DE"/>
                  </a:defPPr>
                  <a:lvl1pPr algn="ctr">
                    <a:defRPr sz="1300">
                      <a:latin typeface="Calibri" panose="020F0502020204030204" pitchFamily="34" charset="0"/>
                    </a:defRPr>
                  </a:lvl1pPr>
                </a:lstStyle>
                <a:p>
                  <a:r>
                    <a:rPr lang="de-DE" dirty="0" err="1"/>
                    <a:t>Flexibility</a:t>
                  </a:r>
                  <a:endParaRPr lang="de-DE" dirty="0"/>
                </a:p>
              </p:txBody>
            </p:sp>
            <p:sp>
              <p:nvSpPr>
                <p:cNvPr id="29" name="Textfeld 28"/>
                <p:cNvSpPr txBox="1"/>
                <p:nvPr/>
              </p:nvSpPr>
              <p:spPr>
                <a:xfrm>
                  <a:off x="2627784" y="4653136"/>
                  <a:ext cx="1980000" cy="35945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 anchorCtr="1">
                  <a:normAutofit/>
                </a:bodyPr>
                <a:lstStyle>
                  <a:defPPr>
                    <a:defRPr lang="de-DE"/>
                  </a:defPPr>
                  <a:lvl1pPr algn="ctr">
                    <a:defRPr sz="1300">
                      <a:latin typeface="Calibri" panose="020F0502020204030204" pitchFamily="34" charset="0"/>
                    </a:defRPr>
                  </a:lvl1pPr>
                </a:lstStyle>
                <a:p>
                  <a:r>
                    <a:rPr lang="de-DE" dirty="0" err="1" smtClean="0"/>
                    <a:t>Grid</a:t>
                  </a:r>
                  <a:r>
                    <a:rPr lang="de-DE" dirty="0" smtClean="0"/>
                    <a:t> </a:t>
                  </a:r>
                  <a:r>
                    <a:rPr lang="de-DE" dirty="0" err="1"/>
                    <a:t>security</a:t>
                  </a:r>
                  <a:r>
                    <a:rPr lang="de-DE" dirty="0"/>
                    <a:t> </a:t>
                  </a:r>
                  <a:r>
                    <a:rPr lang="de-DE" dirty="0" err="1"/>
                    <a:t>measures</a:t>
                  </a:r>
                  <a:endParaRPr lang="de-DE" dirty="0"/>
                </a:p>
              </p:txBody>
            </p:sp>
            <p:sp>
              <p:nvSpPr>
                <p:cNvPr id="30" name="Textfeld 29"/>
                <p:cNvSpPr txBox="1"/>
                <p:nvPr/>
              </p:nvSpPr>
              <p:spPr>
                <a:xfrm>
                  <a:off x="2627784" y="3212976"/>
                  <a:ext cx="1800000" cy="360000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 anchorCtr="1">
                  <a:normAutofit/>
                </a:bodyPr>
                <a:lstStyle>
                  <a:defPPr>
                    <a:defRPr lang="de-DE"/>
                  </a:defPPr>
                  <a:lvl1pPr algn="ctr">
                    <a:defRPr sz="1300">
                      <a:latin typeface="Calibri" panose="020F0502020204030204" pitchFamily="34" charset="0"/>
                    </a:defRPr>
                  </a:lvl1pPr>
                </a:lstStyle>
                <a:p>
                  <a:r>
                    <a:rPr lang="en-GB" dirty="0" smtClean="0"/>
                    <a:t>Grid </a:t>
                  </a:r>
                  <a:r>
                    <a:rPr lang="en-GB" dirty="0"/>
                    <a:t>related </a:t>
                  </a:r>
                  <a:r>
                    <a:rPr lang="en-GB" dirty="0" smtClean="0"/>
                    <a:t>measures</a:t>
                  </a:r>
                  <a:endParaRPr lang="en-GB" dirty="0"/>
                </a:p>
              </p:txBody>
            </p:sp>
          </p:grpSp>
        </p:grpSp>
        <p:grpSp>
          <p:nvGrpSpPr>
            <p:cNvPr id="15" name="Gruppieren 14"/>
            <p:cNvGrpSpPr/>
            <p:nvPr/>
          </p:nvGrpSpPr>
          <p:grpSpPr>
            <a:xfrm>
              <a:off x="1834150" y="1411053"/>
              <a:ext cx="2881526" cy="1801376"/>
              <a:chOff x="1906498" y="1051818"/>
              <a:chExt cx="2881526" cy="1801376"/>
            </a:xfrm>
          </p:grpSpPr>
          <p:grpSp>
            <p:nvGrpSpPr>
              <p:cNvPr id="16" name="Gruppieren 15"/>
              <p:cNvGrpSpPr/>
              <p:nvPr/>
            </p:nvGrpSpPr>
            <p:grpSpPr>
              <a:xfrm>
                <a:off x="1906498" y="1051818"/>
                <a:ext cx="2881526" cy="1801376"/>
                <a:chOff x="1906498" y="1051818"/>
                <a:chExt cx="2881526" cy="1801376"/>
              </a:xfrm>
            </p:grpSpPr>
            <p:sp>
              <p:nvSpPr>
                <p:cNvPr id="22" name="Rechteck 6"/>
                <p:cNvSpPr/>
                <p:nvPr/>
              </p:nvSpPr>
              <p:spPr>
                <a:xfrm rot="5400000">
                  <a:off x="1457037" y="1502197"/>
                  <a:ext cx="1800228" cy="9013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800228" h="901306">
                      <a:moveTo>
                        <a:pt x="0" y="217201"/>
                      </a:moveTo>
                      <a:lnTo>
                        <a:pt x="0" y="195601"/>
                      </a:lnTo>
                      <a:lnTo>
                        <a:pt x="40" y="195601"/>
                      </a:lnTo>
                      <a:lnTo>
                        <a:pt x="40" y="180597"/>
                      </a:lnTo>
                      <a:lnTo>
                        <a:pt x="265" y="180597"/>
                      </a:lnTo>
                      <a:lnTo>
                        <a:pt x="265" y="179981"/>
                      </a:lnTo>
                      <a:lnTo>
                        <a:pt x="306" y="179981"/>
                      </a:lnTo>
                      <a:lnTo>
                        <a:pt x="306" y="138447"/>
                      </a:lnTo>
                      <a:lnTo>
                        <a:pt x="265" y="138447"/>
                      </a:lnTo>
                      <a:lnTo>
                        <a:pt x="180245" y="0"/>
                      </a:lnTo>
                      <a:lnTo>
                        <a:pt x="360224" y="138447"/>
                      </a:lnTo>
                      <a:lnTo>
                        <a:pt x="360265" y="138447"/>
                      </a:lnTo>
                      <a:lnTo>
                        <a:pt x="360265" y="179981"/>
                      </a:lnTo>
                      <a:lnTo>
                        <a:pt x="360265" y="180597"/>
                      </a:lnTo>
                      <a:lnTo>
                        <a:pt x="1082500" y="180597"/>
                      </a:lnTo>
                      <a:lnTo>
                        <a:pt x="1082500" y="178816"/>
                      </a:lnTo>
                      <a:lnTo>
                        <a:pt x="1082542" y="178816"/>
                      </a:lnTo>
                      <a:lnTo>
                        <a:pt x="1082542" y="1177"/>
                      </a:lnTo>
                      <a:lnTo>
                        <a:pt x="1083863" y="1177"/>
                      </a:lnTo>
                      <a:lnTo>
                        <a:pt x="1262482" y="138577"/>
                      </a:lnTo>
                      <a:lnTo>
                        <a:pt x="1441100" y="1177"/>
                      </a:lnTo>
                      <a:lnTo>
                        <a:pt x="1442501" y="1177"/>
                      </a:lnTo>
                      <a:lnTo>
                        <a:pt x="1442501" y="181158"/>
                      </a:lnTo>
                      <a:lnTo>
                        <a:pt x="1442500" y="181158"/>
                      </a:lnTo>
                      <a:lnTo>
                        <a:pt x="1442500" y="181237"/>
                      </a:lnTo>
                      <a:lnTo>
                        <a:pt x="1584151" y="181237"/>
                      </a:lnTo>
                      <a:lnTo>
                        <a:pt x="1584151" y="180104"/>
                      </a:lnTo>
                      <a:lnTo>
                        <a:pt x="1600989" y="180104"/>
                      </a:lnTo>
                      <a:lnTo>
                        <a:pt x="1600989" y="179837"/>
                      </a:lnTo>
                      <a:lnTo>
                        <a:pt x="1622589" y="179837"/>
                      </a:lnTo>
                      <a:lnTo>
                        <a:pt x="1622589" y="179879"/>
                      </a:lnTo>
                      <a:lnTo>
                        <a:pt x="1800228" y="179879"/>
                      </a:lnTo>
                      <a:lnTo>
                        <a:pt x="1800228" y="181200"/>
                      </a:lnTo>
                      <a:lnTo>
                        <a:pt x="1662828" y="359819"/>
                      </a:lnTo>
                      <a:lnTo>
                        <a:pt x="1800228" y="538437"/>
                      </a:lnTo>
                      <a:lnTo>
                        <a:pt x="1800228" y="539838"/>
                      </a:lnTo>
                      <a:lnTo>
                        <a:pt x="1620247" y="539838"/>
                      </a:lnTo>
                      <a:lnTo>
                        <a:pt x="1620247" y="539837"/>
                      </a:lnTo>
                      <a:lnTo>
                        <a:pt x="1620155" y="539837"/>
                      </a:lnTo>
                      <a:lnTo>
                        <a:pt x="1620155" y="541237"/>
                      </a:lnTo>
                      <a:lnTo>
                        <a:pt x="1439695" y="541237"/>
                      </a:lnTo>
                      <a:lnTo>
                        <a:pt x="1439695" y="685229"/>
                      </a:lnTo>
                      <a:lnTo>
                        <a:pt x="1440828" y="685229"/>
                      </a:lnTo>
                      <a:lnTo>
                        <a:pt x="1440828" y="702067"/>
                      </a:lnTo>
                      <a:lnTo>
                        <a:pt x="1441095" y="702067"/>
                      </a:lnTo>
                      <a:lnTo>
                        <a:pt x="1441095" y="723667"/>
                      </a:lnTo>
                      <a:lnTo>
                        <a:pt x="1441053" y="723667"/>
                      </a:lnTo>
                      <a:lnTo>
                        <a:pt x="1441053" y="901306"/>
                      </a:lnTo>
                      <a:lnTo>
                        <a:pt x="1439732" y="901306"/>
                      </a:lnTo>
                      <a:lnTo>
                        <a:pt x="1261113" y="763906"/>
                      </a:lnTo>
                      <a:lnTo>
                        <a:pt x="1082495" y="901306"/>
                      </a:lnTo>
                      <a:lnTo>
                        <a:pt x="1081094" y="901306"/>
                      </a:lnTo>
                      <a:lnTo>
                        <a:pt x="1081094" y="721325"/>
                      </a:lnTo>
                      <a:lnTo>
                        <a:pt x="1081095" y="721325"/>
                      </a:lnTo>
                      <a:lnTo>
                        <a:pt x="1081095" y="721233"/>
                      </a:lnTo>
                      <a:lnTo>
                        <a:pt x="1079695" y="721233"/>
                      </a:lnTo>
                      <a:lnTo>
                        <a:pt x="1079695" y="540597"/>
                      </a:lnTo>
                      <a:lnTo>
                        <a:pt x="360040" y="540597"/>
                      </a:lnTo>
                      <a:lnTo>
                        <a:pt x="324035" y="540597"/>
                      </a:lnTo>
                      <a:lnTo>
                        <a:pt x="180040" y="540597"/>
                      </a:lnTo>
                      <a:cubicBezTo>
                        <a:pt x="80629" y="540597"/>
                        <a:pt x="40" y="460008"/>
                        <a:pt x="40" y="360597"/>
                      </a:cubicBezTo>
                      <a:lnTo>
                        <a:pt x="40" y="21720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vert="horz" wrap="none" lIns="90000" tIns="46800" rIns="90000" bIns="468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>
                    <a:spcAft>
                      <a:spcPct val="100000"/>
                    </a:spcAft>
                    <a:buClr>
                      <a:schemeClr val="accent1"/>
                    </a:buClr>
                    <a:buFont typeface="Arial" charset="0"/>
                    <a:buNone/>
                  </a:pPr>
                  <a:endParaRPr lang="de-DE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3" name="Rechteck 6"/>
                <p:cNvSpPr/>
                <p:nvPr/>
              </p:nvSpPr>
              <p:spPr>
                <a:xfrm rot="10800000">
                  <a:off x="4246160" y="1051818"/>
                  <a:ext cx="541864" cy="144038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541864" h="1440386">
                      <a:moveTo>
                        <a:pt x="346263" y="1440386"/>
                      </a:moveTo>
                      <a:lnTo>
                        <a:pt x="324663" y="1440386"/>
                      </a:lnTo>
                      <a:lnTo>
                        <a:pt x="324663" y="1440346"/>
                      </a:lnTo>
                      <a:lnTo>
                        <a:pt x="180118" y="1440346"/>
                      </a:lnTo>
                      <a:cubicBezTo>
                        <a:pt x="80707" y="1440346"/>
                        <a:pt x="118" y="1359757"/>
                        <a:pt x="118" y="1260346"/>
                      </a:cubicBezTo>
                      <a:lnTo>
                        <a:pt x="118" y="1116351"/>
                      </a:lnTo>
                      <a:lnTo>
                        <a:pt x="0" y="1116351"/>
                      </a:lnTo>
                      <a:lnTo>
                        <a:pt x="0" y="360227"/>
                      </a:lnTo>
                      <a:lnTo>
                        <a:pt x="0" y="324351"/>
                      </a:lnTo>
                      <a:lnTo>
                        <a:pt x="0" y="180227"/>
                      </a:lnTo>
                      <a:cubicBezTo>
                        <a:pt x="0" y="80816"/>
                        <a:pt x="80589" y="227"/>
                        <a:pt x="180000" y="227"/>
                      </a:cubicBezTo>
                      <a:lnTo>
                        <a:pt x="324663" y="227"/>
                      </a:lnTo>
                      <a:lnTo>
                        <a:pt x="324663" y="0"/>
                      </a:lnTo>
                      <a:lnTo>
                        <a:pt x="346263" y="0"/>
                      </a:lnTo>
                      <a:lnTo>
                        <a:pt x="346263" y="227"/>
                      </a:lnTo>
                      <a:lnTo>
                        <a:pt x="360000" y="227"/>
                      </a:lnTo>
                      <a:lnTo>
                        <a:pt x="360000" y="265"/>
                      </a:lnTo>
                      <a:lnTo>
                        <a:pt x="361883" y="265"/>
                      </a:lnTo>
                      <a:lnTo>
                        <a:pt x="361883" y="306"/>
                      </a:lnTo>
                      <a:lnTo>
                        <a:pt x="403417" y="306"/>
                      </a:lnTo>
                      <a:lnTo>
                        <a:pt x="403417" y="265"/>
                      </a:lnTo>
                      <a:lnTo>
                        <a:pt x="541864" y="180245"/>
                      </a:lnTo>
                      <a:lnTo>
                        <a:pt x="403417" y="360224"/>
                      </a:lnTo>
                      <a:lnTo>
                        <a:pt x="403417" y="360265"/>
                      </a:lnTo>
                      <a:lnTo>
                        <a:pt x="361883" y="360265"/>
                      </a:lnTo>
                      <a:lnTo>
                        <a:pt x="360000" y="360265"/>
                      </a:lnTo>
                      <a:lnTo>
                        <a:pt x="360000" y="1080119"/>
                      </a:lnTo>
                      <a:lnTo>
                        <a:pt x="363101" y="1080119"/>
                      </a:lnTo>
                      <a:lnTo>
                        <a:pt x="363101" y="1080161"/>
                      </a:lnTo>
                      <a:lnTo>
                        <a:pt x="540740" y="1080161"/>
                      </a:lnTo>
                      <a:lnTo>
                        <a:pt x="540740" y="1081482"/>
                      </a:lnTo>
                      <a:lnTo>
                        <a:pt x="403340" y="1260101"/>
                      </a:lnTo>
                      <a:lnTo>
                        <a:pt x="540740" y="1438719"/>
                      </a:lnTo>
                      <a:lnTo>
                        <a:pt x="540740" y="1440120"/>
                      </a:lnTo>
                      <a:lnTo>
                        <a:pt x="360759" y="1440120"/>
                      </a:lnTo>
                      <a:lnTo>
                        <a:pt x="360759" y="1440119"/>
                      </a:lnTo>
                      <a:lnTo>
                        <a:pt x="360118" y="1440119"/>
                      </a:lnTo>
                      <a:lnTo>
                        <a:pt x="360118" y="1440346"/>
                      </a:lnTo>
                      <a:lnTo>
                        <a:pt x="346263" y="144034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vert="horz" wrap="none" lIns="90000" tIns="46800" rIns="90000" bIns="468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>
                    <a:spcAft>
                      <a:spcPct val="100000"/>
                    </a:spcAft>
                    <a:buClr>
                      <a:schemeClr val="accent1"/>
                    </a:buClr>
                    <a:buFont typeface="Arial" charset="0"/>
                    <a:buNone/>
                  </a:pPr>
                  <a:endParaRPr lang="de-DE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4" name="Rechteck 9"/>
                <p:cNvSpPr/>
                <p:nvPr/>
              </p:nvSpPr>
              <p:spPr>
                <a:xfrm flipH="1">
                  <a:off x="2807810" y="2131937"/>
                  <a:ext cx="1440710" cy="7212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40710" h="721257">
                      <a:moveTo>
                        <a:pt x="1258752" y="0"/>
                      </a:moveTo>
                      <a:lnTo>
                        <a:pt x="199239" y="0"/>
                      </a:lnTo>
                      <a:lnTo>
                        <a:pt x="178752" y="0"/>
                      </a:lnTo>
                      <a:lnTo>
                        <a:pt x="177639" y="0"/>
                      </a:lnTo>
                      <a:lnTo>
                        <a:pt x="177639" y="42"/>
                      </a:lnTo>
                      <a:lnTo>
                        <a:pt x="0" y="42"/>
                      </a:lnTo>
                      <a:lnTo>
                        <a:pt x="0" y="1363"/>
                      </a:lnTo>
                      <a:lnTo>
                        <a:pt x="137400" y="179982"/>
                      </a:lnTo>
                      <a:lnTo>
                        <a:pt x="0" y="358600"/>
                      </a:lnTo>
                      <a:lnTo>
                        <a:pt x="0" y="360001"/>
                      </a:lnTo>
                      <a:lnTo>
                        <a:pt x="179981" y="360001"/>
                      </a:lnTo>
                      <a:lnTo>
                        <a:pt x="179981" y="360000"/>
                      </a:lnTo>
                      <a:lnTo>
                        <a:pt x="194477" y="360000"/>
                      </a:lnTo>
                      <a:lnTo>
                        <a:pt x="194477" y="360267"/>
                      </a:lnTo>
                      <a:lnTo>
                        <a:pt x="216077" y="360267"/>
                      </a:lnTo>
                      <a:lnTo>
                        <a:pt x="216077" y="360000"/>
                      </a:lnTo>
                      <a:lnTo>
                        <a:pt x="540152" y="360000"/>
                      </a:lnTo>
                      <a:lnTo>
                        <a:pt x="540152" y="504056"/>
                      </a:lnTo>
                      <a:lnTo>
                        <a:pt x="539885" y="504056"/>
                      </a:lnTo>
                      <a:lnTo>
                        <a:pt x="539885" y="525656"/>
                      </a:lnTo>
                      <a:lnTo>
                        <a:pt x="540150" y="525656"/>
                      </a:lnTo>
                      <a:lnTo>
                        <a:pt x="540150" y="541276"/>
                      </a:lnTo>
                      <a:lnTo>
                        <a:pt x="540191" y="541276"/>
                      </a:lnTo>
                      <a:lnTo>
                        <a:pt x="540191" y="582810"/>
                      </a:lnTo>
                      <a:lnTo>
                        <a:pt x="540150" y="582810"/>
                      </a:lnTo>
                      <a:lnTo>
                        <a:pt x="720130" y="721257"/>
                      </a:lnTo>
                      <a:lnTo>
                        <a:pt x="900109" y="582810"/>
                      </a:lnTo>
                      <a:lnTo>
                        <a:pt x="900150" y="582810"/>
                      </a:lnTo>
                      <a:lnTo>
                        <a:pt x="900150" y="541276"/>
                      </a:lnTo>
                      <a:lnTo>
                        <a:pt x="900150" y="540036"/>
                      </a:lnTo>
                      <a:lnTo>
                        <a:pt x="900152" y="540036"/>
                      </a:lnTo>
                      <a:lnTo>
                        <a:pt x="900152" y="360000"/>
                      </a:lnTo>
                      <a:lnTo>
                        <a:pt x="1223509" y="360000"/>
                      </a:lnTo>
                      <a:lnTo>
                        <a:pt x="1223509" y="362648"/>
                      </a:lnTo>
                      <a:lnTo>
                        <a:pt x="1245109" y="362648"/>
                      </a:lnTo>
                      <a:lnTo>
                        <a:pt x="1245109" y="362383"/>
                      </a:lnTo>
                      <a:lnTo>
                        <a:pt x="1260729" y="362383"/>
                      </a:lnTo>
                      <a:lnTo>
                        <a:pt x="1260729" y="362342"/>
                      </a:lnTo>
                      <a:lnTo>
                        <a:pt x="1302263" y="362342"/>
                      </a:lnTo>
                      <a:lnTo>
                        <a:pt x="1302263" y="362383"/>
                      </a:lnTo>
                      <a:lnTo>
                        <a:pt x="1440710" y="182403"/>
                      </a:lnTo>
                      <a:lnTo>
                        <a:pt x="1302263" y="2424"/>
                      </a:lnTo>
                      <a:lnTo>
                        <a:pt x="1302263" y="2383"/>
                      </a:lnTo>
                      <a:lnTo>
                        <a:pt x="1260729" y="2383"/>
                      </a:lnTo>
                      <a:lnTo>
                        <a:pt x="1258752" y="2383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 vert="horz" wrap="none" lIns="90000" tIns="46800" rIns="90000" bIns="468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>
                    <a:spcAft>
                      <a:spcPct val="100000"/>
                    </a:spcAft>
                    <a:buClr>
                      <a:schemeClr val="accent1"/>
                    </a:buClr>
                    <a:buFont typeface="Arial" charset="0"/>
                    <a:buNone/>
                  </a:pPr>
                  <a:endParaRPr lang="de-DE">
                    <a:solidFill>
                      <a:schemeClr val="tx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5" name="Rechteck 100"/>
                <p:cNvSpPr/>
                <p:nvPr/>
              </p:nvSpPr>
              <p:spPr bwMode="auto">
                <a:xfrm rot="16200000">
                  <a:off x="3348554" y="511623"/>
                  <a:ext cx="360268" cy="14406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60268" h="1440657">
                      <a:moveTo>
                        <a:pt x="360268" y="180020"/>
                      </a:moveTo>
                      <a:lnTo>
                        <a:pt x="360268" y="1260020"/>
                      </a:lnTo>
                      <a:lnTo>
                        <a:pt x="360002" y="1260020"/>
                      </a:lnTo>
                      <a:lnTo>
                        <a:pt x="360002" y="1260676"/>
                      </a:lnTo>
                      <a:lnTo>
                        <a:pt x="359961" y="1260676"/>
                      </a:lnTo>
                      <a:lnTo>
                        <a:pt x="359961" y="1302210"/>
                      </a:lnTo>
                      <a:lnTo>
                        <a:pt x="360002" y="1302210"/>
                      </a:lnTo>
                      <a:lnTo>
                        <a:pt x="180022" y="1440657"/>
                      </a:lnTo>
                      <a:lnTo>
                        <a:pt x="43" y="1302210"/>
                      </a:lnTo>
                      <a:lnTo>
                        <a:pt x="2" y="1302210"/>
                      </a:lnTo>
                      <a:lnTo>
                        <a:pt x="2" y="1260676"/>
                      </a:lnTo>
                      <a:lnTo>
                        <a:pt x="2" y="1242676"/>
                      </a:lnTo>
                      <a:lnTo>
                        <a:pt x="266" y="1242676"/>
                      </a:lnTo>
                      <a:lnTo>
                        <a:pt x="266" y="1223456"/>
                      </a:lnTo>
                      <a:lnTo>
                        <a:pt x="268" y="1223456"/>
                      </a:lnTo>
                      <a:lnTo>
                        <a:pt x="268" y="216077"/>
                      </a:lnTo>
                      <a:lnTo>
                        <a:pt x="267" y="216077"/>
                      </a:lnTo>
                      <a:lnTo>
                        <a:pt x="267" y="199239"/>
                      </a:lnTo>
                      <a:lnTo>
                        <a:pt x="0" y="199239"/>
                      </a:lnTo>
                      <a:lnTo>
                        <a:pt x="0" y="177639"/>
                      </a:lnTo>
                      <a:lnTo>
                        <a:pt x="42" y="177639"/>
                      </a:lnTo>
                      <a:lnTo>
                        <a:pt x="42" y="0"/>
                      </a:lnTo>
                      <a:lnTo>
                        <a:pt x="1363" y="0"/>
                      </a:lnTo>
                      <a:lnTo>
                        <a:pt x="179982" y="137400"/>
                      </a:lnTo>
                      <a:lnTo>
                        <a:pt x="358600" y="0"/>
                      </a:lnTo>
                      <a:lnTo>
                        <a:pt x="360001" y="0"/>
                      </a:lnTo>
                      <a:lnTo>
                        <a:pt x="360001" y="179981"/>
                      </a:lnTo>
                      <a:lnTo>
                        <a:pt x="360000" y="179981"/>
                      </a:lnTo>
                      <a:lnTo>
                        <a:pt x="360000" y="18002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6350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xtLst/>
              </p:spPr>
              <p:txBody>
                <a:bodyPr vert="horz" wrap="none" lIns="90000" tIns="46800" rIns="90000" bIns="4680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>
                    <a:spcAft>
                      <a:spcPct val="100000"/>
                    </a:spcAft>
                    <a:buClr>
                      <a:schemeClr val="accent1"/>
                    </a:buClr>
                    <a:buFont typeface="Arial" charset="0"/>
                    <a:buNone/>
                  </a:pPr>
                  <a:endParaRPr lang="de-DE">
                    <a:latin typeface="Calibri" panose="020F0502020204030204" pitchFamily="34" charset="0"/>
                  </a:endParaRPr>
                </a:p>
              </p:txBody>
            </p:sp>
          </p:grpSp>
          <p:grpSp>
            <p:nvGrpSpPr>
              <p:cNvPr id="17" name="Gruppieren 16"/>
              <p:cNvGrpSpPr/>
              <p:nvPr/>
            </p:nvGrpSpPr>
            <p:grpSpPr>
              <a:xfrm>
                <a:off x="2267784" y="1053426"/>
                <a:ext cx="2520200" cy="1438426"/>
                <a:chOff x="2267784" y="1053426"/>
                <a:chExt cx="2520200" cy="1438426"/>
              </a:xfrm>
            </p:grpSpPr>
            <p:sp>
              <p:nvSpPr>
                <p:cNvPr id="18" name="Textfeld 17"/>
                <p:cNvSpPr txBox="1"/>
                <p:nvPr/>
              </p:nvSpPr>
              <p:spPr>
                <a:xfrm>
                  <a:off x="3059832" y="1053426"/>
                  <a:ext cx="936000" cy="359350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 anchorCtr="1">
                  <a:normAutofit/>
                </a:bodyPr>
                <a:lstStyle>
                  <a:defPPr>
                    <a:defRPr lang="de-DE"/>
                  </a:defPPr>
                  <a:lvl1pPr algn="ctr">
                    <a:defRPr sz="1300" b="1">
                      <a:solidFill>
                        <a:schemeClr val="bg1"/>
                      </a:solidFill>
                      <a:latin typeface="Calibri" panose="020F0502020204030204" pitchFamily="34" charset="0"/>
                    </a:defRPr>
                  </a:lvl1pPr>
                </a:lstStyle>
                <a:p>
                  <a:r>
                    <a:rPr lang="de-DE" dirty="0" err="1"/>
                    <a:t>Calculation</a:t>
                  </a:r>
                  <a:endParaRPr lang="de-DE" dirty="0"/>
                </a:p>
              </p:txBody>
            </p:sp>
            <p:sp>
              <p:nvSpPr>
                <p:cNvPr id="19" name="Textfeld 18"/>
                <p:cNvSpPr txBox="1"/>
                <p:nvPr/>
              </p:nvSpPr>
              <p:spPr>
                <a:xfrm rot="5400000">
                  <a:off x="4175984" y="1592768"/>
                  <a:ext cx="864000" cy="360000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 anchorCtr="1">
                  <a:normAutofit/>
                </a:bodyPr>
                <a:lstStyle>
                  <a:defPPr>
                    <a:defRPr lang="de-DE"/>
                  </a:defPPr>
                  <a:lvl1pPr algn="ctr">
                    <a:defRPr sz="1300" b="1">
                      <a:solidFill>
                        <a:schemeClr val="bg1"/>
                      </a:solidFill>
                      <a:latin typeface="Calibri" panose="020F0502020204030204" pitchFamily="34" charset="0"/>
                    </a:defRPr>
                  </a:lvl1pPr>
                </a:lstStyle>
                <a:p>
                  <a:r>
                    <a:rPr lang="en-GB" dirty="0"/>
                    <a:t>E</a:t>
                  </a:r>
                  <a:r>
                    <a:rPr lang="en-GB" dirty="0" smtClean="0"/>
                    <a:t>valuation</a:t>
                  </a:r>
                  <a:endParaRPr lang="en-GB" dirty="0"/>
                </a:p>
              </p:txBody>
            </p:sp>
            <p:sp>
              <p:nvSpPr>
                <p:cNvPr id="20" name="Textfeld 19"/>
                <p:cNvSpPr txBox="1"/>
                <p:nvPr/>
              </p:nvSpPr>
              <p:spPr>
                <a:xfrm>
                  <a:off x="3095940" y="2132855"/>
                  <a:ext cx="864000" cy="358997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 anchorCtr="1">
                  <a:normAutofit/>
                </a:bodyPr>
                <a:lstStyle>
                  <a:defPPr>
                    <a:defRPr lang="de-DE"/>
                  </a:defPPr>
                  <a:lvl1pPr algn="ctr">
                    <a:defRPr sz="1300" b="1">
                      <a:solidFill>
                        <a:schemeClr val="bg1"/>
                      </a:solidFill>
                      <a:latin typeface="Calibri" panose="020F0502020204030204" pitchFamily="34" charset="0"/>
                    </a:defRPr>
                  </a:lvl1pPr>
                </a:lstStyle>
                <a:p>
                  <a:r>
                    <a:rPr lang="de-DE" dirty="0"/>
                    <a:t>Action </a:t>
                  </a:r>
                  <a:r>
                    <a:rPr lang="de-DE" dirty="0" err="1"/>
                    <a:t>required</a:t>
                  </a:r>
                  <a:r>
                    <a:rPr lang="de-DE" dirty="0"/>
                    <a:t>?</a:t>
                  </a:r>
                </a:p>
              </p:txBody>
            </p:sp>
            <p:sp>
              <p:nvSpPr>
                <p:cNvPr id="21" name="Textfeld 20"/>
                <p:cNvSpPr txBox="1"/>
                <p:nvPr/>
              </p:nvSpPr>
              <p:spPr>
                <a:xfrm rot="16200000">
                  <a:off x="2015784" y="1592864"/>
                  <a:ext cx="864000" cy="360000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 anchorCtr="1">
                  <a:normAutofit/>
                </a:bodyPr>
                <a:lstStyle>
                  <a:defPPr>
                    <a:defRPr lang="de-DE"/>
                  </a:defPPr>
                  <a:lvl1pPr algn="ctr">
                    <a:defRPr sz="1300">
                      <a:latin typeface="Calibri" panose="020F0502020204030204" pitchFamily="34" charset="0"/>
                    </a:defRPr>
                  </a:lvl1pPr>
                </a:lstStyle>
                <a:p>
                  <a:r>
                    <a:rPr lang="de-DE" b="1" dirty="0" smtClean="0">
                      <a:solidFill>
                        <a:schemeClr val="bg1"/>
                      </a:solidFill>
                    </a:rPr>
                    <a:t>Determination</a:t>
                  </a:r>
                  <a:endParaRPr lang="de-DE" b="1" dirty="0">
                    <a:solidFill>
                      <a:schemeClr val="bg1"/>
                    </a:solidFill>
                  </a:endParaRPr>
                </a:p>
              </p:txBody>
            </p:sp>
          </p:grpSp>
        </p:grpSp>
      </p:grp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he </a:t>
            </a:r>
            <a:r>
              <a:rPr lang="de-DE" dirty="0" err="1" smtClean="0"/>
              <a:t>traffic</a:t>
            </a:r>
            <a:r>
              <a:rPr lang="de-DE" dirty="0" smtClean="0"/>
              <a:t> light </a:t>
            </a:r>
            <a:r>
              <a:rPr lang="de-DE" dirty="0" err="1" smtClean="0"/>
              <a:t>concept</a:t>
            </a:r>
            <a:r>
              <a:rPr lang="de-DE" dirty="0" smtClean="0"/>
              <a:t> </a:t>
            </a:r>
            <a:r>
              <a:rPr lang="de-DE" dirty="0" err="1" smtClean="0"/>
              <a:t>enhances</a:t>
            </a:r>
            <a:r>
              <a:rPr lang="de-DE" dirty="0" smtClean="0"/>
              <a:t> </a:t>
            </a:r>
            <a:r>
              <a:rPr lang="de-DE" dirty="0" err="1" smtClean="0"/>
              <a:t>current</a:t>
            </a:r>
            <a:r>
              <a:rPr lang="de-DE" dirty="0" smtClean="0"/>
              <a:t> </a:t>
            </a:r>
            <a:r>
              <a:rPr lang="de-DE" dirty="0" err="1" smtClean="0"/>
              <a:t>grid</a:t>
            </a:r>
            <a:r>
              <a:rPr lang="de-DE" dirty="0" smtClean="0"/>
              <a:t> </a:t>
            </a:r>
            <a:r>
              <a:rPr lang="de-DE" dirty="0" err="1" smtClean="0"/>
              <a:t>operation</a:t>
            </a:r>
            <a:r>
              <a:rPr lang="de-DE" dirty="0" smtClean="0"/>
              <a:t> </a:t>
            </a:r>
            <a:r>
              <a:rPr lang="de-DE" dirty="0" err="1" smtClean="0"/>
              <a:t>concepts</a:t>
            </a:r>
            <a:r>
              <a:rPr lang="de-DE" dirty="0" smtClean="0"/>
              <a:t> on </a:t>
            </a:r>
            <a:r>
              <a:rPr lang="de-DE" dirty="0" err="1" smtClean="0"/>
              <a:t>various</a:t>
            </a:r>
            <a:r>
              <a:rPr lang="de-DE" dirty="0" smtClean="0"/>
              <a:t> </a:t>
            </a:r>
            <a:r>
              <a:rPr lang="de-DE" dirty="0" err="1" smtClean="0"/>
              <a:t>levels</a:t>
            </a:r>
            <a:endParaRPr lang="de-DE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4678" y="3770401"/>
            <a:ext cx="1871711" cy="225345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1047" y="3765493"/>
            <a:ext cx="2870383" cy="205528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  <a:effectLst/>
        </p:spPr>
      </p:pic>
      <p:cxnSp>
        <p:nvCxnSpPr>
          <p:cNvPr id="2048" name="Gerade Verbindung mit Pfeil 2047"/>
          <p:cNvCxnSpPr>
            <a:stCxn id="2051" idx="0"/>
            <a:endCxn id="19" idx="2"/>
          </p:cNvCxnSpPr>
          <p:nvPr/>
        </p:nvCxnSpPr>
        <p:spPr bwMode="auto">
          <a:xfrm flipV="1">
            <a:off x="3716239" y="2474522"/>
            <a:ext cx="872987" cy="1290971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409" name="Gerade Verbindung mit Pfeil 408"/>
          <p:cNvCxnSpPr>
            <a:stCxn id="2050" idx="1"/>
            <a:endCxn id="49" idx="1"/>
          </p:cNvCxnSpPr>
          <p:nvPr/>
        </p:nvCxnSpPr>
        <p:spPr bwMode="auto">
          <a:xfrm flipH="1" flipV="1">
            <a:off x="6277587" y="3336648"/>
            <a:ext cx="367091" cy="1560481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49509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4572480" y="1269296"/>
            <a:ext cx="4320000" cy="4824000"/>
          </a:xfrm>
          <a:noFill/>
          <a:ln>
            <a:noFill/>
          </a:ln>
        </p:spPr>
        <p:txBody>
          <a:bodyPr/>
          <a:lstStyle/>
          <a:p>
            <a:r>
              <a:rPr lang="en-GB" dirty="0" smtClean="0"/>
              <a:t>As of today, most power management interventions are resulting in cutting RES</a:t>
            </a:r>
          </a:p>
          <a:p>
            <a:r>
              <a:rPr lang="en-GB" dirty="0" smtClean="0"/>
              <a:t>The determination of an individual, non-discriminatory power range per retail company is facilitating a optimal congestion management as each retailer is able to select suitable schedules of flexibility within his portfolio</a:t>
            </a:r>
          </a:p>
          <a:p>
            <a:r>
              <a:rPr lang="en-US" dirty="0" smtClean="0"/>
              <a:t>Flexibility </a:t>
            </a:r>
            <a:r>
              <a:rPr lang="en-US" dirty="0"/>
              <a:t>calls will be distributed non-discriminatory among all retail companies owning / operating flexibility within the involved grid </a:t>
            </a:r>
            <a:r>
              <a:rPr lang="en-US" dirty="0" smtClean="0"/>
              <a:t>topology</a:t>
            </a:r>
          </a:p>
          <a:p>
            <a:r>
              <a:rPr lang="en-US" dirty="0" smtClean="0"/>
              <a:t>Due </a:t>
            </a:r>
            <a:r>
              <a:rPr lang="en-US" dirty="0"/>
              <a:t>to unique call IDs, retail companies could perform secondary trading on their flexibility calls, to e.g. hold SLAs with customers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By publishing the available power range, market participants are enabled to allocate flexibility best</a:t>
            </a:r>
            <a:endParaRPr lang="en-GB" dirty="0"/>
          </a:p>
        </p:txBody>
      </p:sp>
      <p:grpSp>
        <p:nvGrpSpPr>
          <p:cNvPr id="6" name="Gruppieren 5"/>
          <p:cNvGrpSpPr/>
          <p:nvPr/>
        </p:nvGrpSpPr>
        <p:grpSpPr>
          <a:xfrm>
            <a:off x="395976" y="1268760"/>
            <a:ext cx="3960000" cy="4824530"/>
            <a:chOff x="309006" y="1340812"/>
            <a:chExt cx="8497238" cy="4644509"/>
          </a:xfrm>
        </p:grpSpPr>
        <p:sp>
          <p:nvSpPr>
            <p:cNvPr id="4" name="Textfeld 3"/>
            <p:cNvSpPr txBox="1"/>
            <p:nvPr/>
          </p:nvSpPr>
          <p:spPr>
            <a:xfrm>
              <a:off x="309006" y="1340812"/>
              <a:ext cx="8496000" cy="346567"/>
            </a:xfrm>
            <a:prstGeom prst="rect">
              <a:avLst/>
            </a:prstGeom>
            <a:solidFill>
              <a:schemeClr val="accent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algn="ctr">
                <a:defRPr sz="2000"/>
              </a:lvl1pPr>
            </a:lstStyle>
            <a:p>
              <a:r>
                <a:rPr lang="de-DE" altLang="de-DE" b="1" dirty="0">
                  <a:solidFill>
                    <a:schemeClr val="bg1"/>
                  </a:solidFill>
                  <a:latin typeface="Calibri" pitchFamily="34" charset="0"/>
                </a:rPr>
                <a:t>Flex-Limitation Call</a:t>
              </a:r>
            </a:p>
          </p:txBody>
        </p:sp>
        <p:sp>
          <p:nvSpPr>
            <p:cNvPr id="5" name="Rechteck 4"/>
            <p:cNvSpPr/>
            <p:nvPr/>
          </p:nvSpPr>
          <p:spPr bwMode="auto">
            <a:xfrm>
              <a:off x="310244" y="1687889"/>
              <a:ext cx="8496000" cy="4297432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2000">
                <a:latin typeface="Calibri" panose="020F0502020204030204" pitchFamily="34" charset="0"/>
              </a:endParaRPr>
            </a:p>
          </p:txBody>
        </p:sp>
      </p:grpSp>
      <p:grpSp>
        <p:nvGrpSpPr>
          <p:cNvPr id="13" name="Gruppieren 12"/>
          <p:cNvGrpSpPr/>
          <p:nvPr/>
        </p:nvGrpSpPr>
        <p:grpSpPr>
          <a:xfrm>
            <a:off x="359532" y="3212976"/>
            <a:ext cx="4032000" cy="1728160"/>
            <a:chOff x="395984" y="3285016"/>
            <a:chExt cx="4032000" cy="1728160"/>
          </a:xfrm>
        </p:grpSpPr>
        <p:sp>
          <p:nvSpPr>
            <p:cNvPr id="38" name="Textfeld 37"/>
            <p:cNvSpPr txBox="1"/>
            <p:nvPr/>
          </p:nvSpPr>
          <p:spPr>
            <a:xfrm>
              <a:off x="431980" y="3285016"/>
              <a:ext cx="3960000" cy="288000"/>
            </a:xfrm>
            <a:prstGeom prst="rect">
              <a:avLst/>
            </a:prstGeom>
            <a:solidFill>
              <a:schemeClr val="accent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algn="ctr">
                <a:defRPr sz="2000"/>
              </a:lvl1pPr>
            </a:lstStyle>
            <a:p>
              <a:r>
                <a:rPr lang="de-DE" altLang="de-DE" sz="1600" b="1" dirty="0" err="1">
                  <a:solidFill>
                    <a:schemeClr val="bg1"/>
                  </a:solidFill>
                  <a:latin typeface="Calibri" pitchFamily="34" charset="0"/>
                </a:rPr>
                <a:t>Affected</a:t>
              </a:r>
              <a:r>
                <a:rPr lang="de-DE" altLang="de-DE" sz="1600" b="1" dirty="0">
                  <a:solidFill>
                    <a:schemeClr val="bg1"/>
                  </a:solidFill>
                  <a:latin typeface="Calibri" pitchFamily="34" charset="0"/>
                </a:rPr>
                <a:t> Metering Points</a:t>
              </a:r>
            </a:p>
          </p:txBody>
        </p:sp>
        <p:grpSp>
          <p:nvGrpSpPr>
            <p:cNvPr id="10" name="Gruppieren 9"/>
            <p:cNvGrpSpPr/>
            <p:nvPr/>
          </p:nvGrpSpPr>
          <p:grpSpPr>
            <a:xfrm>
              <a:off x="395984" y="3571959"/>
              <a:ext cx="4032000" cy="1441217"/>
              <a:chOff x="900040" y="3463947"/>
              <a:chExt cx="4032000" cy="1441217"/>
            </a:xfrm>
          </p:grpSpPr>
          <p:grpSp>
            <p:nvGrpSpPr>
              <p:cNvPr id="27" name="Gruppieren 26"/>
              <p:cNvGrpSpPr/>
              <p:nvPr/>
            </p:nvGrpSpPr>
            <p:grpSpPr>
              <a:xfrm>
                <a:off x="935636" y="3752011"/>
                <a:ext cx="3960396" cy="289089"/>
                <a:chOff x="965071" y="3283991"/>
                <a:chExt cx="3960396" cy="289089"/>
              </a:xfrm>
              <a:solidFill>
                <a:schemeClr val="bg1"/>
              </a:solidFill>
            </p:grpSpPr>
            <p:sp>
              <p:nvSpPr>
                <p:cNvPr id="28" name="Rechteck 27"/>
                <p:cNvSpPr/>
                <p:nvPr/>
              </p:nvSpPr>
              <p:spPr bwMode="auto">
                <a:xfrm>
                  <a:off x="965071" y="3283991"/>
                  <a:ext cx="360000" cy="288064"/>
                </a:xfrm>
                <a:prstGeom prst="rect">
                  <a:avLst/>
                </a:prstGeom>
                <a:grpFill/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de-DE" sz="1600" b="1" dirty="0">
                      <a:latin typeface="Calibri" panose="020F0502020204030204" pitchFamily="34" charset="0"/>
                    </a:rPr>
                    <a:t>1</a:t>
                  </a:r>
                </a:p>
              </p:txBody>
            </p:sp>
            <p:sp>
              <p:nvSpPr>
                <p:cNvPr id="29" name="Rechteck 28"/>
                <p:cNvSpPr/>
                <p:nvPr/>
              </p:nvSpPr>
              <p:spPr bwMode="auto">
                <a:xfrm>
                  <a:off x="1325231" y="3283991"/>
                  <a:ext cx="1440000" cy="288064"/>
                </a:xfrm>
                <a:prstGeom prst="rect">
                  <a:avLst/>
                </a:prstGeom>
                <a:grpFill/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de-DE" sz="1600" b="1" dirty="0" smtClean="0">
                      <a:latin typeface="Calibri" panose="020F0502020204030204" pitchFamily="34" charset="0"/>
                    </a:rPr>
                    <a:t>DE123456…</a:t>
                  </a:r>
                  <a:endParaRPr lang="de-DE" sz="1600" b="1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30" name="Rechteck 29"/>
                <p:cNvSpPr/>
                <p:nvPr/>
              </p:nvSpPr>
              <p:spPr bwMode="auto">
                <a:xfrm>
                  <a:off x="2765231" y="3285016"/>
                  <a:ext cx="1260000" cy="288064"/>
                </a:xfrm>
                <a:prstGeom prst="rect">
                  <a:avLst/>
                </a:prstGeom>
                <a:grpFill/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de-DE" sz="1600" b="1" dirty="0" smtClean="0">
                      <a:latin typeface="Calibri" panose="020F0502020204030204" pitchFamily="34" charset="0"/>
                    </a:rPr>
                    <a:t>0,97</a:t>
                  </a:r>
                  <a:endParaRPr lang="de-DE" sz="1600" b="1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31" name="Rechteck 30"/>
                <p:cNvSpPr/>
                <p:nvPr/>
              </p:nvSpPr>
              <p:spPr bwMode="auto">
                <a:xfrm>
                  <a:off x="4025467" y="3284920"/>
                  <a:ext cx="900000" cy="288064"/>
                </a:xfrm>
                <a:prstGeom prst="rect">
                  <a:avLst/>
                </a:prstGeom>
                <a:grpFill/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de-DE" sz="1600" b="1" dirty="0" smtClean="0">
                      <a:latin typeface="Calibri" panose="020F0502020204030204" pitchFamily="34" charset="0"/>
                    </a:rPr>
                    <a:t>ABC</a:t>
                  </a:r>
                  <a:endParaRPr lang="de-DE" sz="1600" b="1" dirty="0">
                    <a:latin typeface="Calibri" panose="020F0502020204030204" pitchFamily="34" charset="0"/>
                  </a:endParaRPr>
                </a:p>
              </p:txBody>
            </p:sp>
            <p:cxnSp>
              <p:nvCxnSpPr>
                <p:cNvPr id="32" name="Gerade Verbindung 31"/>
                <p:cNvCxnSpPr/>
                <p:nvPr/>
              </p:nvCxnSpPr>
              <p:spPr bwMode="auto">
                <a:xfrm>
                  <a:off x="4027622" y="3284984"/>
                  <a:ext cx="0" cy="288000"/>
                </a:xfrm>
                <a:prstGeom prst="line">
                  <a:avLst/>
                </a:prstGeom>
                <a:grpFill/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3" name="Gerade Verbindung 32"/>
                <p:cNvCxnSpPr/>
                <p:nvPr/>
              </p:nvCxnSpPr>
              <p:spPr bwMode="auto">
                <a:xfrm>
                  <a:off x="2771800" y="3284984"/>
                  <a:ext cx="0" cy="288000"/>
                </a:xfrm>
                <a:prstGeom prst="line">
                  <a:avLst/>
                </a:prstGeom>
                <a:grpFill/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34" name="Gerade Verbindung 33"/>
                <p:cNvCxnSpPr/>
                <p:nvPr/>
              </p:nvCxnSpPr>
              <p:spPr bwMode="auto">
                <a:xfrm>
                  <a:off x="1331640" y="3284984"/>
                  <a:ext cx="0" cy="288000"/>
                </a:xfrm>
                <a:prstGeom prst="line">
                  <a:avLst/>
                </a:prstGeom>
                <a:grpFill/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79" name="Gruppieren 78"/>
              <p:cNvGrpSpPr/>
              <p:nvPr/>
            </p:nvGrpSpPr>
            <p:grpSpPr>
              <a:xfrm>
                <a:off x="935636" y="4041068"/>
                <a:ext cx="3960396" cy="289089"/>
                <a:chOff x="965071" y="3283991"/>
                <a:chExt cx="3960396" cy="289089"/>
              </a:xfrm>
              <a:solidFill>
                <a:schemeClr val="bg1"/>
              </a:solidFill>
            </p:grpSpPr>
            <p:sp>
              <p:nvSpPr>
                <p:cNvPr id="80" name="Rechteck 79"/>
                <p:cNvSpPr/>
                <p:nvPr/>
              </p:nvSpPr>
              <p:spPr bwMode="auto">
                <a:xfrm>
                  <a:off x="965071" y="3283991"/>
                  <a:ext cx="360000" cy="288064"/>
                </a:xfrm>
                <a:prstGeom prst="rect">
                  <a:avLst/>
                </a:prstGeom>
                <a:grpFill/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de-DE" sz="1600" b="1" dirty="0" smtClean="0">
                      <a:latin typeface="Calibri" panose="020F0502020204030204" pitchFamily="34" charset="0"/>
                    </a:rPr>
                    <a:t>2</a:t>
                  </a:r>
                  <a:endParaRPr lang="de-DE" sz="1600" b="1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81" name="Rechteck 80"/>
                <p:cNvSpPr/>
                <p:nvPr/>
              </p:nvSpPr>
              <p:spPr bwMode="auto">
                <a:xfrm>
                  <a:off x="1325231" y="3283991"/>
                  <a:ext cx="1440000" cy="288064"/>
                </a:xfrm>
                <a:prstGeom prst="rect">
                  <a:avLst/>
                </a:prstGeom>
                <a:grpFill/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de-DE" sz="1600" b="1" dirty="0" smtClean="0">
                      <a:latin typeface="Calibri" panose="020F0502020204030204" pitchFamily="34" charset="0"/>
                    </a:rPr>
                    <a:t>DE234567…</a:t>
                  </a:r>
                  <a:endParaRPr lang="de-DE" sz="1600" b="1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82" name="Rechteck 81"/>
                <p:cNvSpPr/>
                <p:nvPr/>
              </p:nvSpPr>
              <p:spPr bwMode="auto">
                <a:xfrm>
                  <a:off x="2765231" y="3285016"/>
                  <a:ext cx="1260000" cy="288064"/>
                </a:xfrm>
                <a:prstGeom prst="rect">
                  <a:avLst/>
                </a:prstGeom>
                <a:grpFill/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de-DE" sz="1600" b="1" dirty="0" smtClean="0">
                      <a:latin typeface="Calibri" panose="020F0502020204030204" pitchFamily="34" charset="0"/>
                    </a:rPr>
                    <a:t>0,79</a:t>
                  </a:r>
                  <a:endParaRPr lang="de-DE" sz="1600" b="1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83" name="Rechteck 82"/>
                <p:cNvSpPr/>
                <p:nvPr/>
              </p:nvSpPr>
              <p:spPr bwMode="auto">
                <a:xfrm>
                  <a:off x="4025467" y="3284920"/>
                  <a:ext cx="900000" cy="288064"/>
                </a:xfrm>
                <a:prstGeom prst="rect">
                  <a:avLst/>
                </a:prstGeom>
                <a:grpFill/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de-DE" sz="1600" b="1" dirty="0" smtClean="0">
                      <a:latin typeface="Calibri" panose="020F0502020204030204" pitchFamily="34" charset="0"/>
                    </a:rPr>
                    <a:t>BCD</a:t>
                  </a:r>
                  <a:endParaRPr lang="de-DE" sz="1600" b="1" dirty="0">
                    <a:latin typeface="Calibri" panose="020F0502020204030204" pitchFamily="34" charset="0"/>
                  </a:endParaRPr>
                </a:p>
              </p:txBody>
            </p:sp>
            <p:cxnSp>
              <p:nvCxnSpPr>
                <p:cNvPr id="84" name="Gerade Verbindung 83"/>
                <p:cNvCxnSpPr/>
                <p:nvPr/>
              </p:nvCxnSpPr>
              <p:spPr bwMode="auto">
                <a:xfrm>
                  <a:off x="4027622" y="3284984"/>
                  <a:ext cx="0" cy="288000"/>
                </a:xfrm>
                <a:prstGeom prst="line">
                  <a:avLst/>
                </a:prstGeom>
                <a:grpFill/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85" name="Gerade Verbindung 84"/>
                <p:cNvCxnSpPr/>
                <p:nvPr/>
              </p:nvCxnSpPr>
              <p:spPr bwMode="auto">
                <a:xfrm>
                  <a:off x="2771800" y="3284984"/>
                  <a:ext cx="0" cy="288000"/>
                </a:xfrm>
                <a:prstGeom prst="line">
                  <a:avLst/>
                </a:prstGeom>
                <a:grpFill/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86" name="Gerade Verbindung 85"/>
                <p:cNvCxnSpPr/>
                <p:nvPr/>
              </p:nvCxnSpPr>
              <p:spPr bwMode="auto">
                <a:xfrm>
                  <a:off x="1331640" y="3284984"/>
                  <a:ext cx="0" cy="288000"/>
                </a:xfrm>
                <a:prstGeom prst="line">
                  <a:avLst/>
                </a:prstGeom>
                <a:grpFill/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87" name="Gruppieren 86"/>
              <p:cNvGrpSpPr/>
              <p:nvPr/>
            </p:nvGrpSpPr>
            <p:grpSpPr>
              <a:xfrm>
                <a:off x="935596" y="4329100"/>
                <a:ext cx="3960396" cy="289089"/>
                <a:chOff x="965071" y="3283991"/>
                <a:chExt cx="3960396" cy="289089"/>
              </a:xfrm>
              <a:solidFill>
                <a:schemeClr val="bg1"/>
              </a:solidFill>
            </p:grpSpPr>
            <p:sp>
              <p:nvSpPr>
                <p:cNvPr id="88" name="Rechteck 87"/>
                <p:cNvSpPr/>
                <p:nvPr/>
              </p:nvSpPr>
              <p:spPr bwMode="auto">
                <a:xfrm>
                  <a:off x="965071" y="3283991"/>
                  <a:ext cx="360000" cy="288064"/>
                </a:xfrm>
                <a:prstGeom prst="rect">
                  <a:avLst/>
                </a:prstGeom>
                <a:grpFill/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de-DE" sz="1600" b="1" dirty="0">
                    <a:solidFill>
                      <a:schemeClr val="accent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89" name="Rechteck 88"/>
                <p:cNvSpPr/>
                <p:nvPr/>
              </p:nvSpPr>
              <p:spPr bwMode="auto">
                <a:xfrm>
                  <a:off x="1325231" y="3283991"/>
                  <a:ext cx="1440000" cy="288064"/>
                </a:xfrm>
                <a:prstGeom prst="rect">
                  <a:avLst/>
                </a:prstGeom>
                <a:grpFill/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de-DE" sz="1600" b="1" dirty="0">
                    <a:solidFill>
                      <a:schemeClr val="accent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90" name="Rechteck 89"/>
                <p:cNvSpPr/>
                <p:nvPr/>
              </p:nvSpPr>
              <p:spPr bwMode="auto">
                <a:xfrm>
                  <a:off x="2765231" y="3285016"/>
                  <a:ext cx="1260000" cy="288064"/>
                </a:xfrm>
                <a:prstGeom prst="rect">
                  <a:avLst/>
                </a:prstGeom>
                <a:grpFill/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de-DE" sz="1600" b="1" dirty="0">
                    <a:solidFill>
                      <a:schemeClr val="accent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91" name="Rechteck 90"/>
                <p:cNvSpPr/>
                <p:nvPr/>
              </p:nvSpPr>
              <p:spPr bwMode="auto">
                <a:xfrm>
                  <a:off x="4025467" y="3284920"/>
                  <a:ext cx="900000" cy="288064"/>
                </a:xfrm>
                <a:prstGeom prst="rect">
                  <a:avLst/>
                </a:prstGeom>
                <a:grpFill/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endParaRPr lang="de-DE" sz="1600" b="1" dirty="0">
                    <a:solidFill>
                      <a:schemeClr val="accent1"/>
                    </a:solidFill>
                    <a:latin typeface="Calibri" panose="020F0502020204030204" pitchFamily="34" charset="0"/>
                  </a:endParaRPr>
                </a:p>
              </p:txBody>
            </p:sp>
            <p:cxnSp>
              <p:nvCxnSpPr>
                <p:cNvPr id="92" name="Gerade Verbindung 91"/>
                <p:cNvCxnSpPr/>
                <p:nvPr/>
              </p:nvCxnSpPr>
              <p:spPr bwMode="auto">
                <a:xfrm>
                  <a:off x="4027622" y="3284984"/>
                  <a:ext cx="0" cy="288000"/>
                </a:xfrm>
                <a:prstGeom prst="line">
                  <a:avLst/>
                </a:prstGeom>
                <a:grpFill/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93" name="Gerade Verbindung 92"/>
                <p:cNvCxnSpPr/>
                <p:nvPr/>
              </p:nvCxnSpPr>
              <p:spPr bwMode="auto">
                <a:xfrm>
                  <a:off x="2771800" y="3284984"/>
                  <a:ext cx="0" cy="288000"/>
                </a:xfrm>
                <a:prstGeom prst="line">
                  <a:avLst/>
                </a:prstGeom>
                <a:grpFill/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94" name="Gerade Verbindung 93"/>
                <p:cNvCxnSpPr/>
                <p:nvPr/>
              </p:nvCxnSpPr>
              <p:spPr bwMode="auto">
                <a:xfrm>
                  <a:off x="1331640" y="3284984"/>
                  <a:ext cx="0" cy="288000"/>
                </a:xfrm>
                <a:prstGeom prst="line">
                  <a:avLst/>
                </a:prstGeom>
                <a:grpFill/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grpSp>
            <p:nvGrpSpPr>
              <p:cNvPr id="95" name="Gruppieren 94"/>
              <p:cNvGrpSpPr/>
              <p:nvPr/>
            </p:nvGrpSpPr>
            <p:grpSpPr>
              <a:xfrm>
                <a:off x="935596" y="4616075"/>
                <a:ext cx="3960396" cy="289089"/>
                <a:chOff x="965071" y="3283991"/>
                <a:chExt cx="3960396" cy="289089"/>
              </a:xfrm>
              <a:solidFill>
                <a:schemeClr val="bg1"/>
              </a:solidFill>
            </p:grpSpPr>
            <p:sp>
              <p:nvSpPr>
                <p:cNvPr id="96" name="Rechteck 95"/>
                <p:cNvSpPr/>
                <p:nvPr/>
              </p:nvSpPr>
              <p:spPr bwMode="auto">
                <a:xfrm>
                  <a:off x="965071" y="3283991"/>
                  <a:ext cx="360000" cy="288064"/>
                </a:xfrm>
                <a:prstGeom prst="rect">
                  <a:avLst/>
                </a:prstGeom>
                <a:grpFill/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de-DE" sz="1600" b="1" dirty="0" smtClean="0">
                      <a:latin typeface="Calibri" panose="020F0502020204030204" pitchFamily="34" charset="0"/>
                    </a:rPr>
                    <a:t>n</a:t>
                  </a:r>
                  <a:endParaRPr lang="de-DE" sz="1600" b="1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97" name="Rechteck 96"/>
                <p:cNvSpPr/>
                <p:nvPr/>
              </p:nvSpPr>
              <p:spPr bwMode="auto">
                <a:xfrm>
                  <a:off x="1325231" y="3283991"/>
                  <a:ext cx="1440000" cy="288064"/>
                </a:xfrm>
                <a:prstGeom prst="rect">
                  <a:avLst/>
                </a:prstGeom>
                <a:grpFill/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de-DE" sz="1600" b="1" dirty="0" smtClean="0">
                      <a:latin typeface="Calibri" panose="020F0502020204030204" pitchFamily="34" charset="0"/>
                    </a:rPr>
                    <a:t>DE987654..</a:t>
                  </a:r>
                  <a:endParaRPr lang="de-DE" sz="1600" b="1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98" name="Rechteck 97"/>
                <p:cNvSpPr/>
                <p:nvPr/>
              </p:nvSpPr>
              <p:spPr bwMode="auto">
                <a:xfrm>
                  <a:off x="2765231" y="3285016"/>
                  <a:ext cx="1260000" cy="288064"/>
                </a:xfrm>
                <a:prstGeom prst="rect">
                  <a:avLst/>
                </a:prstGeom>
                <a:grpFill/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de-DE" sz="1600" b="1" dirty="0" smtClean="0">
                      <a:latin typeface="Calibri" panose="020F0502020204030204" pitchFamily="34" charset="0"/>
                    </a:rPr>
                    <a:t>0 </a:t>
                  </a:r>
                  <a:r>
                    <a:rPr lang="de-DE" sz="1600" b="1" dirty="0" smtClean="0">
                      <a:latin typeface="Calibri" panose="020F0502020204030204" pitchFamily="34" charset="0"/>
                      <a:sym typeface="Wingdings" panose="05000000000000000000" pitchFamily="2" charset="2"/>
                    </a:rPr>
                    <a:t> 1</a:t>
                  </a:r>
                  <a:endParaRPr lang="de-DE" sz="1600" b="1" dirty="0"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99" name="Rechteck 98"/>
                <p:cNvSpPr/>
                <p:nvPr/>
              </p:nvSpPr>
              <p:spPr bwMode="auto">
                <a:xfrm>
                  <a:off x="4025467" y="3284920"/>
                  <a:ext cx="900000" cy="288064"/>
                </a:xfrm>
                <a:prstGeom prst="rect">
                  <a:avLst/>
                </a:prstGeom>
                <a:grpFill/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de-DE" sz="1600" b="1" dirty="0" smtClean="0">
                      <a:latin typeface="Calibri" panose="020F0502020204030204" pitchFamily="34" charset="0"/>
                    </a:rPr>
                    <a:t>XYZ</a:t>
                  </a:r>
                  <a:endParaRPr lang="de-DE" sz="1600" b="1" dirty="0">
                    <a:latin typeface="Calibri" panose="020F0502020204030204" pitchFamily="34" charset="0"/>
                  </a:endParaRPr>
                </a:p>
              </p:txBody>
            </p:sp>
            <p:cxnSp>
              <p:nvCxnSpPr>
                <p:cNvPr id="100" name="Gerade Verbindung 99"/>
                <p:cNvCxnSpPr/>
                <p:nvPr/>
              </p:nvCxnSpPr>
              <p:spPr bwMode="auto">
                <a:xfrm>
                  <a:off x="4027622" y="3284984"/>
                  <a:ext cx="0" cy="288000"/>
                </a:xfrm>
                <a:prstGeom prst="line">
                  <a:avLst/>
                </a:prstGeom>
                <a:grpFill/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01" name="Gerade Verbindung 100"/>
                <p:cNvCxnSpPr/>
                <p:nvPr/>
              </p:nvCxnSpPr>
              <p:spPr bwMode="auto">
                <a:xfrm>
                  <a:off x="2771800" y="3284984"/>
                  <a:ext cx="0" cy="288000"/>
                </a:xfrm>
                <a:prstGeom prst="line">
                  <a:avLst/>
                </a:prstGeom>
                <a:grpFill/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02" name="Gerade Verbindung 101"/>
                <p:cNvCxnSpPr/>
                <p:nvPr/>
              </p:nvCxnSpPr>
              <p:spPr bwMode="auto">
                <a:xfrm>
                  <a:off x="1331640" y="3284984"/>
                  <a:ext cx="0" cy="288000"/>
                </a:xfrm>
                <a:prstGeom prst="line">
                  <a:avLst/>
                </a:prstGeom>
                <a:grpFill/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</p:grpSp>
          <p:sp>
            <p:nvSpPr>
              <p:cNvPr id="69" name="Rechteck 68"/>
              <p:cNvSpPr/>
              <p:nvPr/>
            </p:nvSpPr>
            <p:spPr bwMode="auto">
              <a:xfrm>
                <a:off x="900040" y="4329068"/>
                <a:ext cx="4032000" cy="288064"/>
              </a:xfrm>
              <a:prstGeom prst="rect">
                <a:avLst/>
              </a:prstGeom>
              <a:gradFill flip="none" rotWithShape="1">
                <a:gsLst>
                  <a:gs pos="0">
                    <a:schemeClr val="bg1">
                      <a:alpha val="0"/>
                    </a:schemeClr>
                  </a:gs>
                  <a:gs pos="100000">
                    <a:srgbClr val="FFFFFF">
                      <a:alpha val="0"/>
                    </a:srgbClr>
                  </a:gs>
                  <a:gs pos="50000">
                    <a:schemeClr val="bg1"/>
                  </a:gs>
                </a:gsLst>
                <a:lin ang="5400000" scaled="1"/>
                <a:tileRect/>
              </a:gradFill>
              <a:ln w="2857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600" b="1" dirty="0">
                  <a:solidFill>
                    <a:schemeClr val="accent1"/>
                  </a:solidFill>
                  <a:latin typeface="Calibri" panose="020F0502020204030204" pitchFamily="34" charset="0"/>
                </a:endParaRPr>
              </a:p>
            </p:txBody>
          </p:sp>
          <p:grpSp>
            <p:nvGrpSpPr>
              <p:cNvPr id="9" name="Gruppieren 8"/>
              <p:cNvGrpSpPr/>
              <p:nvPr/>
            </p:nvGrpSpPr>
            <p:grpSpPr>
              <a:xfrm>
                <a:off x="935596" y="3463947"/>
                <a:ext cx="3960396" cy="289121"/>
                <a:chOff x="935596" y="3463947"/>
                <a:chExt cx="3960396" cy="289121"/>
              </a:xfrm>
            </p:grpSpPr>
            <p:sp>
              <p:nvSpPr>
                <p:cNvPr id="104" name="Rechteck 103"/>
                <p:cNvSpPr/>
                <p:nvPr/>
              </p:nvSpPr>
              <p:spPr bwMode="auto">
                <a:xfrm>
                  <a:off x="935596" y="3463947"/>
                  <a:ext cx="360000" cy="288064"/>
                </a:xfrm>
                <a:prstGeom prst="rect">
                  <a:avLst/>
                </a:prstGeom>
                <a:solidFill>
                  <a:schemeClr val="bg1"/>
                </a:solidFill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de-DE" sz="1600" b="1" dirty="0" smtClean="0">
                      <a:solidFill>
                        <a:schemeClr val="accent1"/>
                      </a:solidFill>
                      <a:latin typeface="Calibri" panose="020F0502020204030204" pitchFamily="34" charset="0"/>
                    </a:rPr>
                    <a:t>ID</a:t>
                  </a:r>
                  <a:endParaRPr lang="de-DE" sz="1600" b="1" dirty="0">
                    <a:solidFill>
                      <a:schemeClr val="accent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06" name="Rechteck 105"/>
                <p:cNvSpPr/>
                <p:nvPr/>
              </p:nvSpPr>
              <p:spPr bwMode="auto">
                <a:xfrm>
                  <a:off x="2735756" y="3464972"/>
                  <a:ext cx="1260000" cy="288064"/>
                </a:xfrm>
                <a:prstGeom prst="rect">
                  <a:avLst/>
                </a:prstGeom>
                <a:solidFill>
                  <a:schemeClr val="bg1"/>
                </a:solidFill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de-DE" altLang="de-DE" sz="1600" b="1" dirty="0" err="1">
                      <a:solidFill>
                        <a:schemeClr val="accent1"/>
                      </a:solidFill>
                      <a:latin typeface="Calibri" pitchFamily="34" charset="0"/>
                    </a:rPr>
                    <a:t>Sensitivity</a:t>
                  </a:r>
                  <a:endParaRPr lang="de-DE" sz="1600" b="1" dirty="0">
                    <a:solidFill>
                      <a:schemeClr val="accent1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107" name="Rechteck 106"/>
                <p:cNvSpPr/>
                <p:nvPr/>
              </p:nvSpPr>
              <p:spPr bwMode="auto">
                <a:xfrm>
                  <a:off x="3995992" y="3464876"/>
                  <a:ext cx="900000" cy="288064"/>
                </a:xfrm>
                <a:prstGeom prst="rect">
                  <a:avLst/>
                </a:prstGeom>
                <a:solidFill>
                  <a:schemeClr val="bg1"/>
                </a:solidFill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de-DE" altLang="de-DE" sz="1600" b="1" dirty="0">
                      <a:solidFill>
                        <a:schemeClr val="accent1"/>
                      </a:solidFill>
                      <a:latin typeface="Calibri" pitchFamily="34" charset="0"/>
                    </a:rPr>
                    <a:t>+Data</a:t>
                  </a:r>
                </a:p>
              </p:txBody>
            </p:sp>
            <p:cxnSp>
              <p:nvCxnSpPr>
                <p:cNvPr id="108" name="Gerade Verbindung 107"/>
                <p:cNvCxnSpPr/>
                <p:nvPr/>
              </p:nvCxnSpPr>
              <p:spPr bwMode="auto">
                <a:xfrm>
                  <a:off x="3998147" y="3464940"/>
                  <a:ext cx="0" cy="28800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09" name="Gerade Verbindung 108"/>
                <p:cNvCxnSpPr/>
                <p:nvPr/>
              </p:nvCxnSpPr>
              <p:spPr bwMode="auto">
                <a:xfrm>
                  <a:off x="2742325" y="3464940"/>
                  <a:ext cx="0" cy="28800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cxnSp>
              <p:nvCxnSpPr>
                <p:cNvPr id="110" name="Gerade Verbindung 109"/>
                <p:cNvCxnSpPr/>
                <p:nvPr/>
              </p:nvCxnSpPr>
              <p:spPr bwMode="auto">
                <a:xfrm>
                  <a:off x="1302165" y="3464940"/>
                  <a:ext cx="0" cy="288000"/>
                </a:xfrm>
                <a:prstGeom prst="line">
                  <a:avLst/>
                </a:prstGeom>
                <a:solidFill>
                  <a:schemeClr val="accent1"/>
                </a:solidFill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</p:cxnSp>
            <p:sp>
              <p:nvSpPr>
                <p:cNvPr id="105" name="Rechteck 104"/>
                <p:cNvSpPr/>
                <p:nvPr/>
              </p:nvSpPr>
              <p:spPr bwMode="auto">
                <a:xfrm>
                  <a:off x="1295756" y="3465004"/>
                  <a:ext cx="1440000" cy="288064"/>
                </a:xfrm>
                <a:prstGeom prst="rect">
                  <a:avLst/>
                </a:prstGeom>
                <a:solidFill>
                  <a:schemeClr val="bg1"/>
                </a:solidFill>
                <a:ln w="28575" cap="flat" cmpd="sng" algn="ctr">
                  <a:solidFill>
                    <a:schemeClr val="accent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de-DE" altLang="de-DE" sz="1400" b="1" dirty="0">
                      <a:solidFill>
                        <a:schemeClr val="accent1"/>
                      </a:solidFill>
                      <a:latin typeface="Calibri" pitchFamily="34" charset="0"/>
                    </a:rPr>
                    <a:t>Metering Point ID</a:t>
                  </a:r>
                </a:p>
              </p:txBody>
            </p:sp>
          </p:grpSp>
        </p:grpSp>
      </p:grpSp>
      <p:grpSp>
        <p:nvGrpSpPr>
          <p:cNvPr id="12" name="Gruppieren 11"/>
          <p:cNvGrpSpPr/>
          <p:nvPr/>
        </p:nvGrpSpPr>
        <p:grpSpPr>
          <a:xfrm>
            <a:off x="395536" y="2636912"/>
            <a:ext cx="3960440" cy="576064"/>
            <a:chOff x="431540" y="2708920"/>
            <a:chExt cx="3960440" cy="576064"/>
          </a:xfrm>
        </p:grpSpPr>
        <p:sp>
          <p:nvSpPr>
            <p:cNvPr id="71" name="Textfeld 70"/>
            <p:cNvSpPr txBox="1"/>
            <p:nvPr/>
          </p:nvSpPr>
          <p:spPr>
            <a:xfrm>
              <a:off x="431540" y="2708920"/>
              <a:ext cx="3960000" cy="288000"/>
            </a:xfrm>
            <a:prstGeom prst="rect">
              <a:avLst/>
            </a:prstGeom>
            <a:solidFill>
              <a:schemeClr val="accent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algn="ctr">
                <a:defRPr sz="2000"/>
              </a:lvl1pPr>
            </a:lstStyle>
            <a:p>
              <a:r>
                <a:rPr lang="de-DE" altLang="de-DE" sz="1600" b="1" dirty="0" err="1">
                  <a:solidFill>
                    <a:schemeClr val="bg1"/>
                  </a:solidFill>
                  <a:latin typeface="Calibri" pitchFamily="34" charset="0"/>
                </a:rPr>
                <a:t>Available</a:t>
              </a:r>
              <a:r>
                <a:rPr lang="de-DE" altLang="de-DE" sz="1600" b="1" dirty="0">
                  <a:solidFill>
                    <a:schemeClr val="bg1"/>
                  </a:solidFill>
                  <a:latin typeface="Calibri" pitchFamily="34" charset="0"/>
                </a:rPr>
                <a:t> Power </a:t>
              </a:r>
              <a:r>
                <a:rPr lang="de-DE" altLang="de-DE" sz="1600" b="1" dirty="0" smtClean="0">
                  <a:solidFill>
                    <a:schemeClr val="bg1"/>
                  </a:solidFill>
                  <a:latin typeface="Calibri" pitchFamily="34" charset="0"/>
                </a:rPr>
                <a:t>Range</a:t>
              </a:r>
              <a:endParaRPr lang="de-DE" altLang="de-DE" sz="1600" b="1" dirty="0">
                <a:solidFill>
                  <a:schemeClr val="bg1"/>
                </a:solidFill>
                <a:latin typeface="Calibri" pitchFamily="34" charset="0"/>
              </a:endParaRPr>
            </a:p>
          </p:txBody>
        </p:sp>
        <p:sp>
          <p:nvSpPr>
            <p:cNvPr id="115" name="Textfeld 114"/>
            <p:cNvSpPr txBox="1"/>
            <p:nvPr/>
          </p:nvSpPr>
          <p:spPr>
            <a:xfrm>
              <a:off x="1151760" y="2996952"/>
              <a:ext cx="1260000" cy="288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algn="ctr">
                <a:defRPr sz="1400">
                  <a:latin typeface="Comic Sans MS" panose="030F0702030302020204" pitchFamily="66" charset="0"/>
                </a:defRPr>
              </a:lvl1pPr>
            </a:lstStyle>
            <a:p>
              <a:r>
                <a:rPr lang="de-DE" sz="1600" b="1" dirty="0">
                  <a:latin typeface="Calibri" panose="020F0502020204030204" pitchFamily="34" charset="0"/>
                </a:rPr>
                <a:t>-3,71 MW</a:t>
              </a:r>
            </a:p>
          </p:txBody>
        </p:sp>
        <p:sp>
          <p:nvSpPr>
            <p:cNvPr id="120" name="Textfeld 119"/>
            <p:cNvSpPr txBox="1"/>
            <p:nvPr/>
          </p:nvSpPr>
          <p:spPr>
            <a:xfrm>
              <a:off x="431640" y="2996952"/>
              <a:ext cx="720000" cy="288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algn="ctr">
                <a:defRPr sz="2000"/>
              </a:lvl1pPr>
            </a:lstStyle>
            <a:p>
              <a:r>
                <a:rPr lang="de-DE" sz="1600" b="1" dirty="0" err="1">
                  <a:latin typeface="Calibri" panose="020F0502020204030204" pitchFamily="34" charset="0"/>
                </a:rPr>
                <a:t>Pmin</a:t>
              </a:r>
              <a:endParaRPr lang="de-DE" sz="1600" b="1" dirty="0">
                <a:latin typeface="Calibri" panose="020F0502020204030204" pitchFamily="34" charset="0"/>
              </a:endParaRPr>
            </a:p>
          </p:txBody>
        </p:sp>
        <p:sp>
          <p:nvSpPr>
            <p:cNvPr id="121" name="Textfeld 120"/>
            <p:cNvSpPr txBox="1"/>
            <p:nvPr/>
          </p:nvSpPr>
          <p:spPr>
            <a:xfrm>
              <a:off x="3131980" y="2996984"/>
              <a:ext cx="1260000" cy="288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algn="ctr">
                <a:defRPr sz="1400">
                  <a:latin typeface="Comic Sans MS" panose="030F0702030302020204" pitchFamily="66" charset="0"/>
                </a:defRPr>
              </a:lvl1pPr>
            </a:lstStyle>
            <a:p>
              <a:r>
                <a:rPr lang="de-DE" sz="1600" b="1" dirty="0" smtClean="0">
                  <a:latin typeface="Calibri" panose="020F0502020204030204" pitchFamily="34" charset="0"/>
                </a:rPr>
                <a:t>+</a:t>
              </a:r>
              <a:r>
                <a:rPr lang="de-DE" sz="1600" b="1" dirty="0">
                  <a:latin typeface="Calibri" panose="020F0502020204030204" pitchFamily="34" charset="0"/>
                </a:rPr>
                <a:t>5</a:t>
              </a:r>
              <a:r>
                <a:rPr lang="de-DE" sz="1600" b="1" dirty="0" smtClean="0">
                  <a:latin typeface="Calibri" panose="020F0502020204030204" pitchFamily="34" charset="0"/>
                </a:rPr>
                <a:t>,23 </a:t>
              </a:r>
              <a:r>
                <a:rPr lang="de-DE" sz="1600" b="1" dirty="0">
                  <a:latin typeface="Calibri" panose="020F0502020204030204" pitchFamily="34" charset="0"/>
                </a:rPr>
                <a:t>MW</a:t>
              </a:r>
            </a:p>
          </p:txBody>
        </p:sp>
        <p:sp>
          <p:nvSpPr>
            <p:cNvPr id="122" name="Textfeld 121"/>
            <p:cNvSpPr txBox="1"/>
            <p:nvPr/>
          </p:nvSpPr>
          <p:spPr>
            <a:xfrm>
              <a:off x="2411860" y="2996984"/>
              <a:ext cx="720000" cy="288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algn="ctr">
                <a:defRPr sz="1400">
                  <a:latin typeface="Comic Sans MS" panose="030F0702030302020204" pitchFamily="66" charset="0"/>
                </a:defRPr>
              </a:lvl1pPr>
            </a:lstStyle>
            <a:p>
              <a:r>
                <a:rPr lang="de-DE" sz="1600" b="1" dirty="0" err="1">
                  <a:latin typeface="Calibri" panose="020F0502020204030204" pitchFamily="34" charset="0"/>
                </a:rPr>
                <a:t>Pmax</a:t>
              </a:r>
              <a:endParaRPr lang="de-DE" sz="1600" b="1" dirty="0">
                <a:latin typeface="Calibri" panose="020F0502020204030204" pitchFamily="34" charset="0"/>
              </a:endParaRPr>
            </a:p>
          </p:txBody>
        </p:sp>
      </p:grpSp>
      <p:grpSp>
        <p:nvGrpSpPr>
          <p:cNvPr id="16" name="Gruppieren 15"/>
          <p:cNvGrpSpPr/>
          <p:nvPr/>
        </p:nvGrpSpPr>
        <p:grpSpPr>
          <a:xfrm>
            <a:off x="395536" y="1700808"/>
            <a:ext cx="3960320" cy="864064"/>
            <a:chOff x="431540" y="1844856"/>
            <a:chExt cx="3960320" cy="864064"/>
          </a:xfrm>
        </p:grpSpPr>
        <p:grpSp>
          <p:nvGrpSpPr>
            <p:cNvPr id="14" name="Gruppieren 13"/>
            <p:cNvGrpSpPr/>
            <p:nvPr/>
          </p:nvGrpSpPr>
          <p:grpSpPr>
            <a:xfrm>
              <a:off x="431540" y="2132856"/>
              <a:ext cx="3960320" cy="576064"/>
              <a:chOff x="575696" y="2132856"/>
              <a:chExt cx="3960320" cy="576064"/>
            </a:xfrm>
          </p:grpSpPr>
          <p:sp>
            <p:nvSpPr>
              <p:cNvPr id="72" name="Textfeld 71"/>
              <p:cNvSpPr txBox="1"/>
              <p:nvPr/>
            </p:nvSpPr>
            <p:spPr>
              <a:xfrm>
                <a:off x="575696" y="2132856"/>
                <a:ext cx="1260000" cy="288000"/>
              </a:xfrm>
              <a:prstGeom prst="rect">
                <a:avLst/>
              </a:prstGeom>
              <a:solidFill>
                <a:schemeClr val="bg1"/>
              </a:solidFill>
              <a:ln w="285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de-DE"/>
                </a:defPPr>
                <a:lvl1pPr algn="ctr">
                  <a:defRPr sz="2000"/>
                </a:lvl1pPr>
              </a:lstStyle>
              <a:p>
                <a:r>
                  <a:rPr lang="de-DE" altLang="de-DE" sz="1600" b="1" dirty="0">
                    <a:solidFill>
                      <a:schemeClr val="accent1"/>
                    </a:solidFill>
                    <a:latin typeface="Calibri" pitchFamily="34" charset="0"/>
                  </a:rPr>
                  <a:t>Call-ID</a:t>
                </a:r>
                <a:endParaRPr lang="de-DE" sz="1600" b="1" dirty="0">
                  <a:solidFill>
                    <a:schemeClr val="accent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73" name="Textfeld 72"/>
              <p:cNvSpPr txBox="1"/>
              <p:nvPr/>
            </p:nvSpPr>
            <p:spPr>
              <a:xfrm>
                <a:off x="575696" y="2420920"/>
                <a:ext cx="1260000" cy="288000"/>
              </a:xfrm>
              <a:prstGeom prst="rect">
                <a:avLst/>
              </a:prstGeom>
              <a:solidFill>
                <a:schemeClr val="bg1"/>
              </a:solidFill>
              <a:ln w="285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de-DE"/>
                </a:defPPr>
                <a:lvl1pPr algn="ctr">
                  <a:defRPr sz="2000"/>
                </a:lvl1pPr>
              </a:lstStyle>
              <a:p>
                <a:r>
                  <a:rPr lang="de-DE" sz="1600" b="1" dirty="0" smtClean="0">
                    <a:latin typeface="Calibri" panose="020F0502020204030204" pitchFamily="34" charset="0"/>
                  </a:rPr>
                  <a:t>28169132</a:t>
                </a:r>
                <a:endParaRPr lang="de-DE" sz="1600" b="1" dirty="0">
                  <a:latin typeface="Calibri" panose="020F0502020204030204" pitchFamily="34" charset="0"/>
                </a:endParaRPr>
              </a:p>
            </p:txBody>
          </p:sp>
          <p:sp>
            <p:nvSpPr>
              <p:cNvPr id="74" name="Textfeld 73"/>
              <p:cNvSpPr txBox="1"/>
              <p:nvPr/>
            </p:nvSpPr>
            <p:spPr>
              <a:xfrm>
                <a:off x="1836016" y="2132856"/>
                <a:ext cx="1440000" cy="288000"/>
              </a:xfrm>
              <a:prstGeom prst="rect">
                <a:avLst/>
              </a:prstGeom>
              <a:solidFill>
                <a:schemeClr val="bg1"/>
              </a:solidFill>
              <a:ln w="285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de-DE"/>
                </a:defPPr>
                <a:lvl1pPr algn="ctr">
                  <a:defRPr sz="2000"/>
                </a:lvl1pPr>
              </a:lstStyle>
              <a:p>
                <a:r>
                  <a:rPr lang="de-DE" altLang="de-DE" sz="1600" b="1" dirty="0">
                    <a:solidFill>
                      <a:schemeClr val="accent1"/>
                    </a:solidFill>
                    <a:latin typeface="Calibri" pitchFamily="34" charset="0"/>
                  </a:rPr>
                  <a:t>DSO</a:t>
                </a:r>
                <a:endParaRPr lang="de-DE" sz="1600" b="1" dirty="0">
                  <a:solidFill>
                    <a:schemeClr val="accent1"/>
                  </a:solidFill>
                  <a:latin typeface="Calibri" panose="020F0502020204030204" pitchFamily="34" charset="0"/>
                </a:endParaRPr>
              </a:p>
            </p:txBody>
          </p:sp>
          <p:sp>
            <p:nvSpPr>
              <p:cNvPr id="75" name="Textfeld 74"/>
              <p:cNvSpPr txBox="1"/>
              <p:nvPr/>
            </p:nvSpPr>
            <p:spPr>
              <a:xfrm>
                <a:off x="3276016" y="2132856"/>
                <a:ext cx="1260000" cy="288000"/>
              </a:xfrm>
              <a:prstGeom prst="rect">
                <a:avLst/>
              </a:prstGeom>
              <a:solidFill>
                <a:schemeClr val="bg1"/>
              </a:solidFill>
              <a:ln w="285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de-DE"/>
                </a:defPPr>
                <a:lvl1pPr algn="ctr">
                  <a:defRPr sz="2000"/>
                </a:lvl1pPr>
              </a:lstStyle>
              <a:p>
                <a:r>
                  <a:rPr lang="de-DE" altLang="de-DE" sz="1600" b="1" dirty="0" err="1" smtClean="0">
                    <a:solidFill>
                      <a:schemeClr val="accent1"/>
                    </a:solidFill>
                    <a:latin typeface="Calibri" pitchFamily="34" charset="0"/>
                  </a:rPr>
                  <a:t>Period</a:t>
                </a:r>
                <a:endParaRPr lang="de-DE" altLang="de-DE" sz="1600" b="1" dirty="0">
                  <a:solidFill>
                    <a:schemeClr val="accent1"/>
                  </a:solidFill>
                  <a:latin typeface="Calibri" pitchFamily="34" charset="0"/>
                </a:endParaRPr>
              </a:p>
            </p:txBody>
          </p:sp>
          <p:sp>
            <p:nvSpPr>
              <p:cNvPr id="76" name="Textfeld 75"/>
              <p:cNvSpPr txBox="1"/>
              <p:nvPr/>
            </p:nvSpPr>
            <p:spPr>
              <a:xfrm>
                <a:off x="1835856" y="2420920"/>
                <a:ext cx="1440000" cy="288000"/>
              </a:xfrm>
              <a:prstGeom prst="rect">
                <a:avLst/>
              </a:prstGeom>
              <a:solidFill>
                <a:schemeClr val="bg1"/>
              </a:solidFill>
              <a:ln w="285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de-DE"/>
                </a:defPPr>
                <a:lvl1pPr algn="ctr">
                  <a:defRPr sz="2000"/>
                </a:lvl1pPr>
              </a:lstStyle>
              <a:p>
                <a:r>
                  <a:rPr lang="de-DE" sz="1600" b="1" dirty="0">
                    <a:latin typeface="Calibri" panose="020F0502020204030204" pitchFamily="34" charset="0"/>
                  </a:rPr>
                  <a:t>Westnetz</a:t>
                </a:r>
              </a:p>
            </p:txBody>
          </p:sp>
          <p:sp>
            <p:nvSpPr>
              <p:cNvPr id="77" name="Textfeld 76"/>
              <p:cNvSpPr txBox="1"/>
              <p:nvPr/>
            </p:nvSpPr>
            <p:spPr>
              <a:xfrm>
                <a:off x="3276016" y="2420920"/>
                <a:ext cx="1260000" cy="288000"/>
              </a:xfrm>
              <a:prstGeom prst="rect">
                <a:avLst/>
              </a:prstGeom>
              <a:solidFill>
                <a:schemeClr val="bg1"/>
              </a:solidFill>
              <a:ln w="2857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de-DE"/>
                </a:defPPr>
                <a:lvl1pPr algn="ctr">
                  <a:defRPr sz="1400">
                    <a:latin typeface="Comic Sans MS" panose="030F0702030302020204" pitchFamily="66" charset="0"/>
                  </a:defRPr>
                </a:lvl1pPr>
              </a:lstStyle>
              <a:p>
                <a:r>
                  <a:rPr lang="de-DE" sz="1600" b="1" dirty="0" smtClean="0">
                    <a:latin typeface="Calibri" panose="020F0502020204030204" pitchFamily="34" charset="0"/>
                  </a:rPr>
                  <a:t>From</a:t>
                </a:r>
                <a:r>
                  <a:rPr lang="de-DE" sz="1600" b="1" dirty="0" smtClean="0">
                    <a:latin typeface="Calibri" panose="020F0502020204030204" pitchFamily="34" charset="0"/>
                    <a:sym typeface="Wingdings" panose="05000000000000000000" pitchFamily="2" charset="2"/>
                  </a:rPr>
                  <a:t> </a:t>
                </a:r>
                <a:r>
                  <a:rPr lang="de-DE" sz="1600" b="1" dirty="0" err="1" smtClean="0">
                    <a:latin typeface="Calibri" panose="020F0502020204030204" pitchFamily="34" charset="0"/>
                    <a:sym typeface="Wingdings" panose="05000000000000000000" pitchFamily="2" charset="2"/>
                  </a:rPr>
                  <a:t>Until</a:t>
                </a:r>
                <a:endParaRPr lang="de-DE" sz="1600" b="1" dirty="0"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123" name="Textfeld 122"/>
            <p:cNvSpPr txBox="1"/>
            <p:nvPr/>
          </p:nvSpPr>
          <p:spPr>
            <a:xfrm>
              <a:off x="431540" y="1844856"/>
              <a:ext cx="3960000" cy="288000"/>
            </a:xfrm>
            <a:prstGeom prst="rect">
              <a:avLst/>
            </a:prstGeom>
            <a:solidFill>
              <a:schemeClr val="accent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algn="ctr">
                <a:defRPr sz="2000"/>
              </a:lvl1pPr>
            </a:lstStyle>
            <a:p>
              <a:r>
                <a:rPr lang="de-DE" altLang="de-DE" sz="1600" b="1" dirty="0" smtClean="0">
                  <a:solidFill>
                    <a:schemeClr val="bg1"/>
                  </a:solidFill>
                  <a:latin typeface="Calibri" pitchFamily="34" charset="0"/>
                </a:rPr>
                <a:t>Call-Information</a:t>
              </a:r>
              <a:endParaRPr lang="de-DE" altLang="de-DE" sz="1600" b="1" dirty="0">
                <a:solidFill>
                  <a:schemeClr val="bg1"/>
                </a:solidFill>
                <a:latin typeface="Calibri" pitchFamily="34" charset="0"/>
              </a:endParaRPr>
            </a:p>
          </p:txBody>
        </p:sp>
      </p:grpSp>
      <p:grpSp>
        <p:nvGrpSpPr>
          <p:cNvPr id="17" name="Gruppieren 16"/>
          <p:cNvGrpSpPr/>
          <p:nvPr/>
        </p:nvGrpSpPr>
        <p:grpSpPr>
          <a:xfrm>
            <a:off x="1727684" y="5157192"/>
            <a:ext cx="2592000" cy="864096"/>
            <a:chOff x="5256076" y="2708920"/>
            <a:chExt cx="2592000" cy="864096"/>
          </a:xfrm>
        </p:grpSpPr>
        <p:sp>
          <p:nvSpPr>
            <p:cNvPr id="114" name="Rechteck 113"/>
            <p:cNvSpPr/>
            <p:nvPr/>
          </p:nvSpPr>
          <p:spPr bwMode="auto">
            <a:xfrm>
              <a:off x="5292080" y="2996952"/>
              <a:ext cx="225141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50" b="1" dirty="0" smtClean="0">
                  <a:solidFill>
                    <a:schemeClr val="accent1"/>
                  </a:solidFill>
                  <a:latin typeface="Calibri" panose="020F0502020204030204" pitchFamily="34" charset="0"/>
                </a:rPr>
                <a:t>ID</a:t>
              </a:r>
              <a:endParaRPr lang="de-DE" sz="1050" b="1" dirty="0">
                <a:solidFill>
                  <a:schemeClr val="accent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16" name="Rechteck 115"/>
            <p:cNvSpPr/>
            <p:nvPr/>
          </p:nvSpPr>
          <p:spPr bwMode="auto">
            <a:xfrm>
              <a:off x="6444296" y="2996952"/>
              <a:ext cx="792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50" b="1" dirty="0" smtClean="0">
                  <a:solidFill>
                    <a:schemeClr val="accent1"/>
                  </a:solidFill>
                  <a:latin typeface="Calibri" panose="020F0502020204030204" pitchFamily="34" charset="0"/>
                </a:rPr>
                <a:t>Sensitivität</a:t>
              </a:r>
              <a:endParaRPr lang="de-DE" sz="1050" b="1" dirty="0">
                <a:solidFill>
                  <a:schemeClr val="accent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17" name="Rechteck 116"/>
            <p:cNvSpPr/>
            <p:nvPr/>
          </p:nvSpPr>
          <p:spPr bwMode="auto">
            <a:xfrm>
              <a:off x="7236296" y="2996952"/>
              <a:ext cx="576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50" b="1" dirty="0" smtClean="0">
                  <a:solidFill>
                    <a:schemeClr val="accent1"/>
                  </a:solidFill>
                  <a:latin typeface="Calibri" panose="020F0502020204030204" pitchFamily="34" charset="0"/>
                </a:rPr>
                <a:t>+Daten</a:t>
              </a:r>
              <a:endParaRPr lang="de-DE" sz="1050" b="1" dirty="0">
                <a:solidFill>
                  <a:schemeClr val="accent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25" name="Rechteck 124"/>
            <p:cNvSpPr/>
            <p:nvPr/>
          </p:nvSpPr>
          <p:spPr bwMode="auto">
            <a:xfrm>
              <a:off x="5508104" y="2996952"/>
              <a:ext cx="936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50" b="1" dirty="0" err="1" smtClean="0">
                  <a:solidFill>
                    <a:schemeClr val="accent1"/>
                  </a:solidFill>
                  <a:latin typeface="Calibri" panose="020F0502020204030204" pitchFamily="34" charset="0"/>
                </a:rPr>
                <a:t>Zählpunktnr</a:t>
              </a:r>
              <a:r>
                <a:rPr lang="de-DE" sz="1050" b="1" dirty="0" smtClean="0">
                  <a:solidFill>
                    <a:schemeClr val="accent1"/>
                  </a:solidFill>
                  <a:latin typeface="Calibri" panose="020F0502020204030204" pitchFamily="34" charset="0"/>
                </a:rPr>
                <a:t>.</a:t>
              </a:r>
              <a:endParaRPr lang="de-DE" sz="1050" b="1" dirty="0">
                <a:solidFill>
                  <a:schemeClr val="accent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56" name="Textfeld 155"/>
            <p:cNvSpPr txBox="1"/>
            <p:nvPr/>
          </p:nvSpPr>
          <p:spPr>
            <a:xfrm>
              <a:off x="5724128" y="2852936"/>
              <a:ext cx="828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algn="ctr">
                <a:defRPr sz="1400">
                  <a:latin typeface="Comic Sans MS" panose="030F0702030302020204" pitchFamily="66" charset="0"/>
                </a:defRPr>
              </a:lvl1pPr>
            </a:lstStyle>
            <a:p>
              <a:r>
                <a:rPr lang="de-DE" sz="1050" b="1" dirty="0">
                  <a:latin typeface="Calibri" panose="020F0502020204030204" pitchFamily="34" charset="0"/>
                </a:rPr>
                <a:t>-3,71 MW</a:t>
              </a:r>
            </a:p>
          </p:txBody>
        </p:sp>
        <p:sp>
          <p:nvSpPr>
            <p:cNvPr id="157" name="Textfeld 156"/>
            <p:cNvSpPr txBox="1"/>
            <p:nvPr/>
          </p:nvSpPr>
          <p:spPr>
            <a:xfrm>
              <a:off x="5292080" y="2852936"/>
              <a:ext cx="432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algn="ctr">
                <a:defRPr sz="2000"/>
              </a:lvl1pPr>
            </a:lstStyle>
            <a:p>
              <a:r>
                <a:rPr lang="de-DE" sz="1050" b="1" dirty="0" err="1">
                  <a:latin typeface="Calibri" panose="020F0502020204030204" pitchFamily="34" charset="0"/>
                </a:rPr>
                <a:t>Pmin</a:t>
              </a:r>
              <a:endParaRPr lang="de-DE" sz="1050" b="1" dirty="0">
                <a:latin typeface="Calibri" panose="020F0502020204030204" pitchFamily="34" charset="0"/>
              </a:endParaRPr>
            </a:p>
          </p:txBody>
        </p:sp>
        <p:sp>
          <p:nvSpPr>
            <p:cNvPr id="158" name="Textfeld 157"/>
            <p:cNvSpPr txBox="1"/>
            <p:nvPr/>
          </p:nvSpPr>
          <p:spPr>
            <a:xfrm>
              <a:off x="6984268" y="2852936"/>
              <a:ext cx="828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algn="ctr">
                <a:defRPr sz="1400">
                  <a:latin typeface="Comic Sans MS" panose="030F0702030302020204" pitchFamily="66" charset="0"/>
                </a:defRPr>
              </a:lvl1pPr>
            </a:lstStyle>
            <a:p>
              <a:r>
                <a:rPr lang="de-DE" sz="1050" b="1" dirty="0">
                  <a:latin typeface="Calibri" panose="020F0502020204030204" pitchFamily="34" charset="0"/>
                </a:rPr>
                <a:t>+11,23 MW</a:t>
              </a:r>
            </a:p>
          </p:txBody>
        </p:sp>
        <p:sp>
          <p:nvSpPr>
            <p:cNvPr id="159" name="Textfeld 158"/>
            <p:cNvSpPr txBox="1"/>
            <p:nvPr/>
          </p:nvSpPr>
          <p:spPr>
            <a:xfrm>
              <a:off x="6552220" y="2852936"/>
              <a:ext cx="432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algn="ctr">
                <a:defRPr sz="1400">
                  <a:latin typeface="Comic Sans MS" panose="030F0702030302020204" pitchFamily="66" charset="0"/>
                </a:defRPr>
              </a:lvl1pPr>
            </a:lstStyle>
            <a:p>
              <a:r>
                <a:rPr lang="de-DE" sz="1050" b="1" dirty="0" err="1">
                  <a:latin typeface="Calibri" panose="020F0502020204030204" pitchFamily="34" charset="0"/>
                </a:rPr>
                <a:t>Pmax</a:t>
              </a:r>
              <a:endParaRPr lang="de-DE" sz="1050" b="1" dirty="0">
                <a:latin typeface="Calibri" panose="020F0502020204030204" pitchFamily="34" charset="0"/>
              </a:endParaRPr>
            </a:p>
          </p:txBody>
        </p:sp>
        <p:sp>
          <p:nvSpPr>
            <p:cNvPr id="155" name="Textfeld 154"/>
            <p:cNvSpPr txBox="1"/>
            <p:nvPr/>
          </p:nvSpPr>
          <p:spPr>
            <a:xfrm>
              <a:off x="5292080" y="2708920"/>
              <a:ext cx="2520000" cy="144000"/>
            </a:xfrm>
            <a:prstGeom prst="rect">
              <a:avLst/>
            </a:prstGeom>
            <a:solidFill>
              <a:schemeClr val="accent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algn="ctr">
                <a:defRPr sz="2000"/>
              </a:lvl1pPr>
            </a:lstStyle>
            <a:p>
              <a:r>
                <a:rPr lang="de-DE" sz="1050" b="1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Randbedingungen 1</a:t>
              </a:r>
              <a:endParaRPr lang="de-DE" sz="1050" b="1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60" name="Rechteck 159"/>
            <p:cNvSpPr/>
            <p:nvPr/>
          </p:nvSpPr>
          <p:spPr bwMode="auto">
            <a:xfrm>
              <a:off x="5292080" y="3140968"/>
              <a:ext cx="225141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b="1" dirty="0" smtClean="0">
                  <a:latin typeface="Calibri" panose="020F0502020204030204" pitchFamily="34" charset="0"/>
                </a:rPr>
                <a:t>1</a:t>
              </a:r>
              <a:endParaRPr lang="de-DE" sz="1000" b="1" dirty="0">
                <a:latin typeface="Calibri" panose="020F0502020204030204" pitchFamily="34" charset="0"/>
              </a:endParaRPr>
            </a:p>
          </p:txBody>
        </p:sp>
        <p:sp>
          <p:nvSpPr>
            <p:cNvPr id="161" name="Rechteck 160"/>
            <p:cNvSpPr/>
            <p:nvPr/>
          </p:nvSpPr>
          <p:spPr bwMode="auto">
            <a:xfrm>
              <a:off x="6444296" y="3140968"/>
              <a:ext cx="792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b="1" dirty="0" smtClean="0">
                  <a:latin typeface="Calibri" panose="020F0502020204030204" pitchFamily="34" charset="0"/>
                </a:rPr>
                <a:t>0,97</a:t>
              </a:r>
              <a:endParaRPr lang="de-DE" sz="1000" b="1" dirty="0">
                <a:latin typeface="Calibri" panose="020F0502020204030204" pitchFamily="34" charset="0"/>
              </a:endParaRPr>
            </a:p>
          </p:txBody>
        </p:sp>
        <p:sp>
          <p:nvSpPr>
            <p:cNvPr id="162" name="Rechteck 161"/>
            <p:cNvSpPr/>
            <p:nvPr/>
          </p:nvSpPr>
          <p:spPr bwMode="auto">
            <a:xfrm>
              <a:off x="7236296" y="3140968"/>
              <a:ext cx="576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b="1" dirty="0" smtClean="0">
                  <a:latin typeface="Calibri" panose="020F0502020204030204" pitchFamily="34" charset="0"/>
                </a:rPr>
                <a:t>ABC</a:t>
              </a:r>
              <a:endParaRPr lang="de-DE" sz="1000" b="1" dirty="0">
                <a:latin typeface="Calibri" panose="020F0502020204030204" pitchFamily="34" charset="0"/>
              </a:endParaRPr>
            </a:p>
          </p:txBody>
        </p:sp>
        <p:sp>
          <p:nvSpPr>
            <p:cNvPr id="163" name="Rechteck 162"/>
            <p:cNvSpPr/>
            <p:nvPr/>
          </p:nvSpPr>
          <p:spPr bwMode="auto">
            <a:xfrm>
              <a:off x="5508104" y="3140968"/>
              <a:ext cx="936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b="1" dirty="0">
                  <a:latin typeface="Calibri" panose="020F0502020204030204" pitchFamily="34" charset="0"/>
                </a:rPr>
                <a:t>123456</a:t>
              </a:r>
            </a:p>
          </p:txBody>
        </p:sp>
        <p:sp>
          <p:nvSpPr>
            <p:cNvPr id="164" name="Rechteck 163"/>
            <p:cNvSpPr/>
            <p:nvPr/>
          </p:nvSpPr>
          <p:spPr bwMode="auto">
            <a:xfrm>
              <a:off x="5292080" y="3285000"/>
              <a:ext cx="225141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00" b="1" dirty="0">
                <a:latin typeface="Calibri" panose="020F0502020204030204" pitchFamily="34" charset="0"/>
              </a:endParaRPr>
            </a:p>
          </p:txBody>
        </p:sp>
        <p:sp>
          <p:nvSpPr>
            <p:cNvPr id="165" name="Rechteck 164"/>
            <p:cNvSpPr/>
            <p:nvPr/>
          </p:nvSpPr>
          <p:spPr bwMode="auto">
            <a:xfrm>
              <a:off x="6444296" y="3285000"/>
              <a:ext cx="792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00" b="1" dirty="0">
                <a:latin typeface="Calibri" panose="020F0502020204030204" pitchFamily="34" charset="0"/>
              </a:endParaRPr>
            </a:p>
          </p:txBody>
        </p:sp>
        <p:sp>
          <p:nvSpPr>
            <p:cNvPr id="166" name="Rechteck 165"/>
            <p:cNvSpPr/>
            <p:nvPr/>
          </p:nvSpPr>
          <p:spPr bwMode="auto">
            <a:xfrm>
              <a:off x="7236296" y="3285000"/>
              <a:ext cx="576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00" b="1" dirty="0">
                <a:latin typeface="Calibri" panose="020F0502020204030204" pitchFamily="34" charset="0"/>
              </a:endParaRPr>
            </a:p>
          </p:txBody>
        </p:sp>
        <p:sp>
          <p:nvSpPr>
            <p:cNvPr id="167" name="Rechteck 166"/>
            <p:cNvSpPr/>
            <p:nvPr/>
          </p:nvSpPr>
          <p:spPr bwMode="auto">
            <a:xfrm>
              <a:off x="5508104" y="3285000"/>
              <a:ext cx="936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00" b="1" dirty="0">
                <a:latin typeface="Calibri" panose="020F0502020204030204" pitchFamily="34" charset="0"/>
              </a:endParaRPr>
            </a:p>
          </p:txBody>
        </p:sp>
        <p:sp>
          <p:nvSpPr>
            <p:cNvPr id="168" name="Rechteck 167"/>
            <p:cNvSpPr/>
            <p:nvPr/>
          </p:nvSpPr>
          <p:spPr bwMode="auto">
            <a:xfrm>
              <a:off x="5292080" y="3429016"/>
              <a:ext cx="225141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b="1" dirty="0" smtClean="0">
                  <a:latin typeface="Calibri" panose="020F0502020204030204" pitchFamily="34" charset="0"/>
                </a:rPr>
                <a:t>n</a:t>
              </a:r>
              <a:endParaRPr lang="de-DE" sz="1000" b="1" dirty="0">
                <a:latin typeface="Calibri" panose="020F0502020204030204" pitchFamily="34" charset="0"/>
              </a:endParaRPr>
            </a:p>
          </p:txBody>
        </p:sp>
        <p:sp>
          <p:nvSpPr>
            <p:cNvPr id="169" name="Rechteck 168"/>
            <p:cNvSpPr/>
            <p:nvPr/>
          </p:nvSpPr>
          <p:spPr bwMode="auto">
            <a:xfrm>
              <a:off x="6444296" y="3429016"/>
              <a:ext cx="792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b="1" dirty="0" smtClean="0">
                  <a:latin typeface="Calibri" panose="020F0502020204030204" pitchFamily="34" charset="0"/>
                </a:rPr>
                <a:t>0 </a:t>
              </a:r>
              <a:r>
                <a:rPr lang="de-DE" sz="1000" b="1" dirty="0" smtClean="0">
                  <a:latin typeface="Calibri" panose="020F0502020204030204" pitchFamily="34" charset="0"/>
                  <a:sym typeface="Wingdings" panose="05000000000000000000" pitchFamily="2" charset="2"/>
                </a:rPr>
                <a:t> 1</a:t>
              </a:r>
              <a:endParaRPr lang="de-DE" sz="1000" b="1" dirty="0">
                <a:latin typeface="Calibri" panose="020F0502020204030204" pitchFamily="34" charset="0"/>
              </a:endParaRPr>
            </a:p>
          </p:txBody>
        </p:sp>
        <p:sp>
          <p:nvSpPr>
            <p:cNvPr id="170" name="Rechteck 169"/>
            <p:cNvSpPr/>
            <p:nvPr/>
          </p:nvSpPr>
          <p:spPr bwMode="auto">
            <a:xfrm>
              <a:off x="7236296" y="3429016"/>
              <a:ext cx="576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b="1" dirty="0" smtClean="0">
                  <a:latin typeface="Calibri" panose="020F0502020204030204" pitchFamily="34" charset="0"/>
                </a:rPr>
                <a:t>XYZ</a:t>
              </a:r>
              <a:endParaRPr lang="de-DE" sz="1000" b="1" dirty="0">
                <a:latin typeface="Calibri" panose="020F0502020204030204" pitchFamily="34" charset="0"/>
              </a:endParaRPr>
            </a:p>
          </p:txBody>
        </p:sp>
        <p:sp>
          <p:nvSpPr>
            <p:cNvPr id="171" name="Rechteck 170"/>
            <p:cNvSpPr/>
            <p:nvPr/>
          </p:nvSpPr>
          <p:spPr bwMode="auto">
            <a:xfrm>
              <a:off x="5508104" y="3429016"/>
              <a:ext cx="936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b="1" dirty="0">
                  <a:latin typeface="Calibri" panose="020F0502020204030204" pitchFamily="34" charset="0"/>
                </a:rPr>
                <a:t>987654</a:t>
              </a:r>
            </a:p>
          </p:txBody>
        </p:sp>
        <p:sp>
          <p:nvSpPr>
            <p:cNvPr id="112" name="Rechteck 111"/>
            <p:cNvSpPr/>
            <p:nvPr/>
          </p:nvSpPr>
          <p:spPr bwMode="auto">
            <a:xfrm>
              <a:off x="5256076" y="3285000"/>
              <a:ext cx="2592000" cy="14400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rgbClr val="FFFFFF">
                    <a:alpha val="0"/>
                  </a:srgbClr>
                </a:gs>
                <a:gs pos="50000">
                  <a:schemeClr val="bg1"/>
                </a:gs>
              </a:gsLst>
              <a:lin ang="5400000" scaled="1"/>
              <a:tileRect/>
            </a:gradFill>
            <a:ln w="285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 sz="1050" b="1" dirty="0">
                <a:solidFill>
                  <a:schemeClr val="accent1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18" name="Rechteck 17"/>
          <p:cNvSpPr/>
          <p:nvPr/>
        </p:nvSpPr>
        <p:spPr bwMode="auto">
          <a:xfrm>
            <a:off x="1727972" y="5121292"/>
            <a:ext cx="2592000" cy="936000"/>
          </a:xfrm>
          <a:prstGeom prst="rect">
            <a:avLst/>
          </a:prstGeom>
          <a:solidFill>
            <a:srgbClr val="FFFFFF">
              <a:alpha val="50196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266700" marR="0" indent="-26670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SzTx/>
              <a:buFont typeface="Arial" pitchFamily="34" charset="0"/>
              <a:buChar char="&gt;"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</p:txBody>
      </p:sp>
      <p:grpSp>
        <p:nvGrpSpPr>
          <p:cNvPr id="172" name="Gruppieren 171"/>
          <p:cNvGrpSpPr/>
          <p:nvPr/>
        </p:nvGrpSpPr>
        <p:grpSpPr>
          <a:xfrm>
            <a:off x="1079612" y="5085184"/>
            <a:ext cx="2592000" cy="864096"/>
            <a:chOff x="5256076" y="2708920"/>
            <a:chExt cx="2592000" cy="864096"/>
          </a:xfrm>
        </p:grpSpPr>
        <p:sp>
          <p:nvSpPr>
            <p:cNvPr id="173" name="Rechteck 172"/>
            <p:cNvSpPr/>
            <p:nvPr/>
          </p:nvSpPr>
          <p:spPr bwMode="auto">
            <a:xfrm>
              <a:off x="5292080" y="2996952"/>
              <a:ext cx="225141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50" b="1" dirty="0" smtClean="0">
                  <a:solidFill>
                    <a:schemeClr val="accent1"/>
                  </a:solidFill>
                  <a:latin typeface="Calibri" panose="020F0502020204030204" pitchFamily="34" charset="0"/>
                </a:rPr>
                <a:t>ID</a:t>
              </a:r>
              <a:endParaRPr lang="de-DE" sz="1050" b="1" dirty="0">
                <a:solidFill>
                  <a:schemeClr val="accent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74" name="Rechteck 173"/>
            <p:cNvSpPr/>
            <p:nvPr/>
          </p:nvSpPr>
          <p:spPr bwMode="auto">
            <a:xfrm>
              <a:off x="6444296" y="2996952"/>
              <a:ext cx="792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50" b="1" dirty="0" smtClean="0">
                  <a:solidFill>
                    <a:schemeClr val="accent1"/>
                  </a:solidFill>
                  <a:latin typeface="Calibri" panose="020F0502020204030204" pitchFamily="34" charset="0"/>
                </a:rPr>
                <a:t>Sensitivität</a:t>
              </a:r>
              <a:endParaRPr lang="de-DE" sz="1050" b="1" dirty="0">
                <a:solidFill>
                  <a:schemeClr val="accent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75" name="Rechteck 174"/>
            <p:cNvSpPr/>
            <p:nvPr/>
          </p:nvSpPr>
          <p:spPr bwMode="auto">
            <a:xfrm>
              <a:off x="7236296" y="2996952"/>
              <a:ext cx="576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50" b="1" dirty="0" smtClean="0">
                  <a:solidFill>
                    <a:schemeClr val="accent1"/>
                  </a:solidFill>
                  <a:latin typeface="Calibri" panose="020F0502020204030204" pitchFamily="34" charset="0"/>
                </a:rPr>
                <a:t>+Daten</a:t>
              </a:r>
              <a:endParaRPr lang="de-DE" sz="1050" b="1" dirty="0">
                <a:solidFill>
                  <a:schemeClr val="accent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76" name="Rechteck 175"/>
            <p:cNvSpPr/>
            <p:nvPr/>
          </p:nvSpPr>
          <p:spPr bwMode="auto">
            <a:xfrm>
              <a:off x="5508104" y="2996952"/>
              <a:ext cx="936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50" b="1" dirty="0" err="1" smtClean="0">
                  <a:solidFill>
                    <a:schemeClr val="accent1"/>
                  </a:solidFill>
                  <a:latin typeface="Calibri" panose="020F0502020204030204" pitchFamily="34" charset="0"/>
                </a:rPr>
                <a:t>Zählpunktnr</a:t>
              </a:r>
              <a:r>
                <a:rPr lang="de-DE" sz="1050" b="1" dirty="0" smtClean="0">
                  <a:solidFill>
                    <a:schemeClr val="accent1"/>
                  </a:solidFill>
                  <a:latin typeface="Calibri" panose="020F0502020204030204" pitchFamily="34" charset="0"/>
                </a:rPr>
                <a:t>.</a:t>
              </a:r>
              <a:endParaRPr lang="de-DE" sz="1050" b="1" dirty="0">
                <a:solidFill>
                  <a:schemeClr val="accent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77" name="Textfeld 176"/>
            <p:cNvSpPr txBox="1"/>
            <p:nvPr/>
          </p:nvSpPr>
          <p:spPr>
            <a:xfrm>
              <a:off x="5724128" y="2852936"/>
              <a:ext cx="828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algn="ctr">
                <a:defRPr sz="1400">
                  <a:latin typeface="Comic Sans MS" panose="030F0702030302020204" pitchFamily="66" charset="0"/>
                </a:defRPr>
              </a:lvl1pPr>
            </a:lstStyle>
            <a:p>
              <a:r>
                <a:rPr lang="de-DE" sz="1050" b="1" dirty="0">
                  <a:latin typeface="Calibri" panose="020F0502020204030204" pitchFamily="34" charset="0"/>
                </a:rPr>
                <a:t>-3,71 MW</a:t>
              </a:r>
            </a:p>
          </p:txBody>
        </p:sp>
        <p:sp>
          <p:nvSpPr>
            <p:cNvPr id="178" name="Textfeld 177"/>
            <p:cNvSpPr txBox="1"/>
            <p:nvPr/>
          </p:nvSpPr>
          <p:spPr>
            <a:xfrm>
              <a:off x="5292080" y="2852936"/>
              <a:ext cx="432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algn="ctr">
                <a:defRPr sz="2000"/>
              </a:lvl1pPr>
            </a:lstStyle>
            <a:p>
              <a:r>
                <a:rPr lang="de-DE" sz="1050" b="1" dirty="0" err="1">
                  <a:latin typeface="Calibri" panose="020F0502020204030204" pitchFamily="34" charset="0"/>
                </a:rPr>
                <a:t>Pmin</a:t>
              </a:r>
              <a:endParaRPr lang="de-DE" sz="1050" b="1" dirty="0">
                <a:latin typeface="Calibri" panose="020F0502020204030204" pitchFamily="34" charset="0"/>
              </a:endParaRPr>
            </a:p>
          </p:txBody>
        </p:sp>
        <p:sp>
          <p:nvSpPr>
            <p:cNvPr id="179" name="Textfeld 178"/>
            <p:cNvSpPr txBox="1"/>
            <p:nvPr/>
          </p:nvSpPr>
          <p:spPr>
            <a:xfrm>
              <a:off x="6984268" y="2852936"/>
              <a:ext cx="828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algn="ctr">
                <a:defRPr sz="1400">
                  <a:latin typeface="Comic Sans MS" panose="030F0702030302020204" pitchFamily="66" charset="0"/>
                </a:defRPr>
              </a:lvl1pPr>
            </a:lstStyle>
            <a:p>
              <a:r>
                <a:rPr lang="de-DE" sz="1050" b="1" dirty="0">
                  <a:latin typeface="Calibri" panose="020F0502020204030204" pitchFamily="34" charset="0"/>
                </a:rPr>
                <a:t>+11,23 MW</a:t>
              </a:r>
            </a:p>
          </p:txBody>
        </p:sp>
        <p:sp>
          <p:nvSpPr>
            <p:cNvPr id="180" name="Textfeld 179"/>
            <p:cNvSpPr txBox="1"/>
            <p:nvPr/>
          </p:nvSpPr>
          <p:spPr>
            <a:xfrm>
              <a:off x="6552220" y="2852936"/>
              <a:ext cx="432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algn="ctr">
                <a:defRPr sz="1400">
                  <a:latin typeface="Comic Sans MS" panose="030F0702030302020204" pitchFamily="66" charset="0"/>
                </a:defRPr>
              </a:lvl1pPr>
            </a:lstStyle>
            <a:p>
              <a:r>
                <a:rPr lang="de-DE" sz="1050" b="1" dirty="0" err="1">
                  <a:latin typeface="Calibri" panose="020F0502020204030204" pitchFamily="34" charset="0"/>
                </a:rPr>
                <a:t>Pmax</a:t>
              </a:r>
              <a:endParaRPr lang="de-DE" sz="1050" b="1" dirty="0">
                <a:latin typeface="Calibri" panose="020F0502020204030204" pitchFamily="34" charset="0"/>
              </a:endParaRPr>
            </a:p>
          </p:txBody>
        </p:sp>
        <p:sp>
          <p:nvSpPr>
            <p:cNvPr id="181" name="Textfeld 180"/>
            <p:cNvSpPr txBox="1"/>
            <p:nvPr/>
          </p:nvSpPr>
          <p:spPr>
            <a:xfrm>
              <a:off x="5292080" y="2708920"/>
              <a:ext cx="2520000" cy="144000"/>
            </a:xfrm>
            <a:prstGeom prst="rect">
              <a:avLst/>
            </a:prstGeom>
            <a:solidFill>
              <a:schemeClr val="accent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algn="ctr">
                <a:defRPr sz="2000"/>
              </a:lvl1pPr>
            </a:lstStyle>
            <a:p>
              <a:r>
                <a:rPr lang="de-DE" sz="1050" b="1" dirty="0" smtClean="0">
                  <a:solidFill>
                    <a:schemeClr val="bg1"/>
                  </a:solidFill>
                  <a:latin typeface="Calibri" panose="020F0502020204030204" pitchFamily="34" charset="0"/>
                </a:rPr>
                <a:t>Randbedingungen </a:t>
              </a:r>
              <a:endParaRPr lang="de-DE" sz="1050" b="1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82" name="Rechteck 181"/>
            <p:cNvSpPr/>
            <p:nvPr/>
          </p:nvSpPr>
          <p:spPr bwMode="auto">
            <a:xfrm>
              <a:off x="5292080" y="3140968"/>
              <a:ext cx="225141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b="1" dirty="0" smtClean="0">
                  <a:latin typeface="Calibri" panose="020F0502020204030204" pitchFamily="34" charset="0"/>
                </a:rPr>
                <a:t>1</a:t>
              </a:r>
              <a:endParaRPr lang="de-DE" sz="1000" b="1" dirty="0">
                <a:latin typeface="Calibri" panose="020F0502020204030204" pitchFamily="34" charset="0"/>
              </a:endParaRPr>
            </a:p>
          </p:txBody>
        </p:sp>
        <p:sp>
          <p:nvSpPr>
            <p:cNvPr id="183" name="Rechteck 182"/>
            <p:cNvSpPr/>
            <p:nvPr/>
          </p:nvSpPr>
          <p:spPr bwMode="auto">
            <a:xfrm>
              <a:off x="6444296" y="3140968"/>
              <a:ext cx="792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b="1" dirty="0" smtClean="0">
                  <a:latin typeface="Calibri" panose="020F0502020204030204" pitchFamily="34" charset="0"/>
                </a:rPr>
                <a:t>0,97</a:t>
              </a:r>
              <a:endParaRPr lang="de-DE" sz="1000" b="1" dirty="0">
                <a:latin typeface="Calibri" panose="020F0502020204030204" pitchFamily="34" charset="0"/>
              </a:endParaRPr>
            </a:p>
          </p:txBody>
        </p:sp>
        <p:sp>
          <p:nvSpPr>
            <p:cNvPr id="184" name="Rechteck 183"/>
            <p:cNvSpPr/>
            <p:nvPr/>
          </p:nvSpPr>
          <p:spPr bwMode="auto">
            <a:xfrm>
              <a:off x="7236296" y="3140968"/>
              <a:ext cx="576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b="1" dirty="0" smtClean="0">
                  <a:latin typeface="Calibri" panose="020F0502020204030204" pitchFamily="34" charset="0"/>
                </a:rPr>
                <a:t>ABC</a:t>
              </a:r>
              <a:endParaRPr lang="de-DE" sz="1000" b="1" dirty="0">
                <a:latin typeface="Calibri" panose="020F0502020204030204" pitchFamily="34" charset="0"/>
              </a:endParaRPr>
            </a:p>
          </p:txBody>
        </p:sp>
        <p:sp>
          <p:nvSpPr>
            <p:cNvPr id="185" name="Rechteck 184"/>
            <p:cNvSpPr/>
            <p:nvPr/>
          </p:nvSpPr>
          <p:spPr bwMode="auto">
            <a:xfrm>
              <a:off x="5508104" y="3140968"/>
              <a:ext cx="936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b="1" dirty="0">
                  <a:latin typeface="Calibri" panose="020F0502020204030204" pitchFamily="34" charset="0"/>
                </a:rPr>
                <a:t>123456</a:t>
              </a:r>
            </a:p>
          </p:txBody>
        </p:sp>
        <p:sp>
          <p:nvSpPr>
            <p:cNvPr id="186" name="Rechteck 185"/>
            <p:cNvSpPr/>
            <p:nvPr/>
          </p:nvSpPr>
          <p:spPr bwMode="auto">
            <a:xfrm>
              <a:off x="5292080" y="3285000"/>
              <a:ext cx="225141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00" b="1" dirty="0">
                <a:latin typeface="Calibri" panose="020F0502020204030204" pitchFamily="34" charset="0"/>
              </a:endParaRPr>
            </a:p>
          </p:txBody>
        </p:sp>
        <p:sp>
          <p:nvSpPr>
            <p:cNvPr id="187" name="Rechteck 186"/>
            <p:cNvSpPr/>
            <p:nvPr/>
          </p:nvSpPr>
          <p:spPr bwMode="auto">
            <a:xfrm>
              <a:off x="6444296" y="3285000"/>
              <a:ext cx="792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00" b="1" dirty="0">
                <a:latin typeface="Calibri" panose="020F0502020204030204" pitchFamily="34" charset="0"/>
              </a:endParaRPr>
            </a:p>
          </p:txBody>
        </p:sp>
        <p:sp>
          <p:nvSpPr>
            <p:cNvPr id="188" name="Rechteck 187"/>
            <p:cNvSpPr/>
            <p:nvPr/>
          </p:nvSpPr>
          <p:spPr bwMode="auto">
            <a:xfrm>
              <a:off x="7236296" y="3285000"/>
              <a:ext cx="576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00" b="1" dirty="0">
                <a:latin typeface="Calibri" panose="020F0502020204030204" pitchFamily="34" charset="0"/>
              </a:endParaRPr>
            </a:p>
          </p:txBody>
        </p:sp>
        <p:sp>
          <p:nvSpPr>
            <p:cNvPr id="189" name="Rechteck 188"/>
            <p:cNvSpPr/>
            <p:nvPr/>
          </p:nvSpPr>
          <p:spPr bwMode="auto">
            <a:xfrm>
              <a:off x="5508104" y="3285000"/>
              <a:ext cx="936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00" b="1" dirty="0">
                <a:latin typeface="Calibri" panose="020F0502020204030204" pitchFamily="34" charset="0"/>
              </a:endParaRPr>
            </a:p>
          </p:txBody>
        </p:sp>
        <p:sp>
          <p:nvSpPr>
            <p:cNvPr id="190" name="Rechteck 189"/>
            <p:cNvSpPr/>
            <p:nvPr/>
          </p:nvSpPr>
          <p:spPr bwMode="auto">
            <a:xfrm>
              <a:off x="5292080" y="3429016"/>
              <a:ext cx="225141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b="1" dirty="0" smtClean="0">
                  <a:latin typeface="Calibri" panose="020F0502020204030204" pitchFamily="34" charset="0"/>
                </a:rPr>
                <a:t>n</a:t>
              </a:r>
              <a:endParaRPr lang="de-DE" sz="1000" b="1" dirty="0">
                <a:latin typeface="Calibri" panose="020F0502020204030204" pitchFamily="34" charset="0"/>
              </a:endParaRPr>
            </a:p>
          </p:txBody>
        </p:sp>
        <p:sp>
          <p:nvSpPr>
            <p:cNvPr id="191" name="Rechteck 190"/>
            <p:cNvSpPr/>
            <p:nvPr/>
          </p:nvSpPr>
          <p:spPr bwMode="auto">
            <a:xfrm>
              <a:off x="6444296" y="3429016"/>
              <a:ext cx="792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b="1" dirty="0" smtClean="0">
                  <a:latin typeface="Calibri" panose="020F0502020204030204" pitchFamily="34" charset="0"/>
                </a:rPr>
                <a:t>0 </a:t>
              </a:r>
              <a:r>
                <a:rPr lang="de-DE" sz="1000" b="1" dirty="0" smtClean="0">
                  <a:latin typeface="Calibri" panose="020F0502020204030204" pitchFamily="34" charset="0"/>
                  <a:sym typeface="Wingdings" panose="05000000000000000000" pitchFamily="2" charset="2"/>
                </a:rPr>
                <a:t> 1</a:t>
              </a:r>
              <a:endParaRPr lang="de-DE" sz="1000" b="1" dirty="0">
                <a:latin typeface="Calibri" panose="020F0502020204030204" pitchFamily="34" charset="0"/>
              </a:endParaRPr>
            </a:p>
          </p:txBody>
        </p:sp>
        <p:sp>
          <p:nvSpPr>
            <p:cNvPr id="192" name="Rechteck 191"/>
            <p:cNvSpPr/>
            <p:nvPr/>
          </p:nvSpPr>
          <p:spPr bwMode="auto">
            <a:xfrm>
              <a:off x="7236296" y="3429016"/>
              <a:ext cx="576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b="1" dirty="0" smtClean="0">
                  <a:latin typeface="Calibri" panose="020F0502020204030204" pitchFamily="34" charset="0"/>
                </a:rPr>
                <a:t>XYZ</a:t>
              </a:r>
              <a:endParaRPr lang="de-DE" sz="1000" b="1" dirty="0">
                <a:latin typeface="Calibri" panose="020F0502020204030204" pitchFamily="34" charset="0"/>
              </a:endParaRPr>
            </a:p>
          </p:txBody>
        </p:sp>
        <p:sp>
          <p:nvSpPr>
            <p:cNvPr id="193" name="Rechteck 192"/>
            <p:cNvSpPr/>
            <p:nvPr/>
          </p:nvSpPr>
          <p:spPr bwMode="auto">
            <a:xfrm>
              <a:off x="5508104" y="3429016"/>
              <a:ext cx="936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b="1" dirty="0">
                  <a:latin typeface="Calibri" panose="020F0502020204030204" pitchFamily="34" charset="0"/>
                </a:rPr>
                <a:t>987654</a:t>
              </a:r>
            </a:p>
          </p:txBody>
        </p:sp>
        <p:sp>
          <p:nvSpPr>
            <p:cNvPr id="194" name="Rechteck 193"/>
            <p:cNvSpPr/>
            <p:nvPr/>
          </p:nvSpPr>
          <p:spPr bwMode="auto">
            <a:xfrm>
              <a:off x="5256076" y="3285000"/>
              <a:ext cx="2592000" cy="14400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rgbClr val="FFFFFF">
                    <a:alpha val="0"/>
                  </a:srgbClr>
                </a:gs>
                <a:gs pos="50000">
                  <a:schemeClr val="bg1"/>
                </a:gs>
              </a:gsLst>
              <a:lin ang="5400000" scaled="1"/>
              <a:tileRect/>
            </a:gradFill>
            <a:ln w="285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 sz="1050" b="1" dirty="0">
                <a:solidFill>
                  <a:schemeClr val="accent1"/>
                </a:solidFill>
                <a:latin typeface="Calibri" panose="020F0502020204030204" pitchFamily="34" charset="0"/>
              </a:endParaRPr>
            </a:p>
          </p:txBody>
        </p:sp>
      </p:grpSp>
      <p:sp>
        <p:nvSpPr>
          <p:cNvPr id="218" name="Rechteck 217"/>
          <p:cNvSpPr/>
          <p:nvPr/>
        </p:nvSpPr>
        <p:spPr bwMode="auto">
          <a:xfrm>
            <a:off x="1079612" y="5049292"/>
            <a:ext cx="3240072" cy="1008000"/>
          </a:xfrm>
          <a:prstGeom prst="rect">
            <a:avLst/>
          </a:prstGeom>
          <a:solidFill>
            <a:srgbClr val="FFFFFF">
              <a:alpha val="50196"/>
            </a:srgbClr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266700" marR="0" indent="-26670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SzTx/>
              <a:buFont typeface="Arial" pitchFamily="34" charset="0"/>
              <a:buChar char="&gt;"/>
              <a:tabLst/>
            </a:pPr>
            <a:endParaRPr kumimoji="0" lang="de-DE" sz="20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</p:txBody>
      </p:sp>
      <p:grpSp>
        <p:nvGrpSpPr>
          <p:cNvPr id="195" name="Gruppieren 194"/>
          <p:cNvGrpSpPr/>
          <p:nvPr/>
        </p:nvGrpSpPr>
        <p:grpSpPr>
          <a:xfrm>
            <a:off x="431540" y="5013176"/>
            <a:ext cx="2592000" cy="864096"/>
            <a:chOff x="5256076" y="2708920"/>
            <a:chExt cx="2592000" cy="864096"/>
          </a:xfrm>
        </p:grpSpPr>
        <p:sp>
          <p:nvSpPr>
            <p:cNvPr id="196" name="Rechteck 195"/>
            <p:cNvSpPr/>
            <p:nvPr/>
          </p:nvSpPr>
          <p:spPr bwMode="auto">
            <a:xfrm>
              <a:off x="5292080" y="2996952"/>
              <a:ext cx="225141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50" b="1" dirty="0" smtClean="0">
                  <a:solidFill>
                    <a:schemeClr val="accent1"/>
                  </a:solidFill>
                  <a:latin typeface="Calibri" panose="020F0502020204030204" pitchFamily="34" charset="0"/>
                </a:rPr>
                <a:t>ID</a:t>
              </a:r>
              <a:endParaRPr lang="de-DE" sz="1050" b="1" dirty="0">
                <a:solidFill>
                  <a:schemeClr val="accent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97" name="Rechteck 196"/>
            <p:cNvSpPr/>
            <p:nvPr/>
          </p:nvSpPr>
          <p:spPr bwMode="auto">
            <a:xfrm>
              <a:off x="6444296" y="2996952"/>
              <a:ext cx="792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altLang="de-DE" sz="1050" b="1" dirty="0" err="1">
                  <a:solidFill>
                    <a:schemeClr val="accent1"/>
                  </a:solidFill>
                  <a:latin typeface="Calibri" pitchFamily="34" charset="0"/>
                </a:rPr>
                <a:t>Sensitivity</a:t>
              </a:r>
              <a:endParaRPr lang="de-DE" sz="1050" b="1" dirty="0">
                <a:solidFill>
                  <a:schemeClr val="accent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98" name="Rechteck 197"/>
            <p:cNvSpPr/>
            <p:nvPr/>
          </p:nvSpPr>
          <p:spPr bwMode="auto">
            <a:xfrm>
              <a:off x="7236296" y="2996952"/>
              <a:ext cx="576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altLang="de-DE" sz="1050" b="1" dirty="0">
                  <a:solidFill>
                    <a:schemeClr val="accent1"/>
                  </a:solidFill>
                  <a:latin typeface="Calibri" pitchFamily="34" charset="0"/>
                </a:rPr>
                <a:t>+Data</a:t>
              </a:r>
            </a:p>
          </p:txBody>
        </p:sp>
        <p:sp>
          <p:nvSpPr>
            <p:cNvPr id="199" name="Rechteck 198"/>
            <p:cNvSpPr/>
            <p:nvPr/>
          </p:nvSpPr>
          <p:spPr bwMode="auto">
            <a:xfrm>
              <a:off x="5508104" y="2996952"/>
              <a:ext cx="936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altLang="de-DE" sz="900" b="1" dirty="0">
                  <a:solidFill>
                    <a:schemeClr val="accent1"/>
                  </a:solidFill>
                  <a:latin typeface="Calibri" pitchFamily="34" charset="0"/>
                </a:rPr>
                <a:t>Metering Point </a:t>
              </a:r>
              <a:r>
                <a:rPr lang="de-DE" altLang="de-DE" sz="900" b="1" dirty="0" smtClean="0">
                  <a:solidFill>
                    <a:schemeClr val="accent1"/>
                  </a:solidFill>
                  <a:latin typeface="Calibri" pitchFamily="34" charset="0"/>
                </a:rPr>
                <a:t>ID</a:t>
              </a:r>
              <a:endParaRPr lang="de-DE" sz="900" b="1" dirty="0">
                <a:solidFill>
                  <a:schemeClr val="accent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00" name="Textfeld 199"/>
            <p:cNvSpPr txBox="1"/>
            <p:nvPr/>
          </p:nvSpPr>
          <p:spPr>
            <a:xfrm>
              <a:off x="5724128" y="2852936"/>
              <a:ext cx="828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algn="ctr">
                <a:defRPr sz="1400">
                  <a:latin typeface="Comic Sans MS" panose="030F0702030302020204" pitchFamily="66" charset="0"/>
                </a:defRPr>
              </a:lvl1pPr>
            </a:lstStyle>
            <a:p>
              <a:r>
                <a:rPr lang="de-DE" sz="1050" b="1" dirty="0" smtClean="0">
                  <a:latin typeface="Calibri" panose="020F0502020204030204" pitchFamily="34" charset="0"/>
                </a:rPr>
                <a:t>-1,23 </a:t>
              </a:r>
              <a:r>
                <a:rPr lang="de-DE" sz="1050" b="1" dirty="0">
                  <a:latin typeface="Calibri" panose="020F0502020204030204" pitchFamily="34" charset="0"/>
                </a:rPr>
                <a:t>MW</a:t>
              </a:r>
            </a:p>
          </p:txBody>
        </p:sp>
        <p:sp>
          <p:nvSpPr>
            <p:cNvPr id="201" name="Textfeld 200"/>
            <p:cNvSpPr txBox="1"/>
            <p:nvPr/>
          </p:nvSpPr>
          <p:spPr>
            <a:xfrm>
              <a:off x="5292080" y="2852936"/>
              <a:ext cx="432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algn="ctr">
                <a:defRPr sz="2000"/>
              </a:lvl1pPr>
            </a:lstStyle>
            <a:p>
              <a:r>
                <a:rPr lang="de-DE" sz="1050" b="1" dirty="0" err="1">
                  <a:latin typeface="Calibri" panose="020F0502020204030204" pitchFamily="34" charset="0"/>
                </a:rPr>
                <a:t>Pmin</a:t>
              </a:r>
              <a:endParaRPr lang="de-DE" sz="1050" b="1" dirty="0">
                <a:latin typeface="Calibri" panose="020F0502020204030204" pitchFamily="34" charset="0"/>
              </a:endParaRPr>
            </a:p>
          </p:txBody>
        </p:sp>
        <p:sp>
          <p:nvSpPr>
            <p:cNvPr id="202" name="Textfeld 201"/>
            <p:cNvSpPr txBox="1"/>
            <p:nvPr/>
          </p:nvSpPr>
          <p:spPr>
            <a:xfrm>
              <a:off x="6984268" y="2852936"/>
              <a:ext cx="828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algn="ctr">
                <a:defRPr sz="1400">
                  <a:latin typeface="Comic Sans MS" panose="030F0702030302020204" pitchFamily="66" charset="0"/>
                </a:defRPr>
              </a:lvl1pPr>
            </a:lstStyle>
            <a:p>
              <a:r>
                <a:rPr lang="de-DE" sz="1050" b="1" dirty="0" smtClean="0">
                  <a:latin typeface="Calibri" panose="020F0502020204030204" pitchFamily="34" charset="0"/>
                </a:rPr>
                <a:t>+</a:t>
              </a:r>
              <a:r>
                <a:rPr lang="de-DE" sz="1050" b="1" dirty="0">
                  <a:latin typeface="Calibri" panose="020F0502020204030204" pitchFamily="34" charset="0"/>
                </a:rPr>
                <a:t>0</a:t>
              </a:r>
              <a:r>
                <a:rPr lang="de-DE" sz="1050" b="1" dirty="0" smtClean="0">
                  <a:latin typeface="Calibri" panose="020F0502020204030204" pitchFamily="34" charset="0"/>
                </a:rPr>
                <a:t>,23 </a:t>
              </a:r>
              <a:r>
                <a:rPr lang="de-DE" sz="1050" b="1" dirty="0">
                  <a:latin typeface="Calibri" panose="020F0502020204030204" pitchFamily="34" charset="0"/>
                </a:rPr>
                <a:t>MW</a:t>
              </a:r>
            </a:p>
          </p:txBody>
        </p:sp>
        <p:sp>
          <p:nvSpPr>
            <p:cNvPr id="203" name="Textfeld 202"/>
            <p:cNvSpPr txBox="1"/>
            <p:nvPr/>
          </p:nvSpPr>
          <p:spPr>
            <a:xfrm>
              <a:off x="6552220" y="2852936"/>
              <a:ext cx="432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algn="ctr">
                <a:defRPr sz="1400">
                  <a:latin typeface="Comic Sans MS" panose="030F0702030302020204" pitchFamily="66" charset="0"/>
                </a:defRPr>
              </a:lvl1pPr>
            </a:lstStyle>
            <a:p>
              <a:r>
                <a:rPr lang="de-DE" sz="1050" b="1" dirty="0" err="1">
                  <a:latin typeface="Calibri" panose="020F0502020204030204" pitchFamily="34" charset="0"/>
                </a:rPr>
                <a:t>Pmax</a:t>
              </a:r>
              <a:endParaRPr lang="de-DE" sz="1050" b="1" dirty="0">
                <a:latin typeface="Calibri" panose="020F0502020204030204" pitchFamily="34" charset="0"/>
              </a:endParaRPr>
            </a:p>
          </p:txBody>
        </p:sp>
        <p:sp>
          <p:nvSpPr>
            <p:cNvPr id="204" name="Textfeld 203"/>
            <p:cNvSpPr txBox="1"/>
            <p:nvPr/>
          </p:nvSpPr>
          <p:spPr>
            <a:xfrm>
              <a:off x="5292080" y="2708920"/>
              <a:ext cx="2520000" cy="144000"/>
            </a:xfrm>
            <a:prstGeom prst="rect">
              <a:avLst/>
            </a:prstGeom>
            <a:solidFill>
              <a:schemeClr val="accent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algn="ctr">
                <a:defRPr sz="2000"/>
              </a:lvl1pPr>
            </a:lstStyle>
            <a:p>
              <a:pPr>
                <a:defRPr/>
              </a:pPr>
              <a:r>
                <a:rPr lang="de-DE" sz="1050" b="1" dirty="0">
                  <a:solidFill>
                    <a:schemeClr val="bg1"/>
                  </a:solidFill>
                  <a:latin typeface="Calibri" panose="020F0502020204030204" pitchFamily="34" charset="0"/>
                </a:rPr>
                <a:t>1. </a:t>
              </a:r>
              <a:r>
                <a:rPr lang="de-DE" sz="1050" b="1" dirty="0" err="1">
                  <a:solidFill>
                    <a:schemeClr val="bg1"/>
                  </a:solidFill>
                  <a:latin typeface="Calibri" panose="020F0502020204030204" pitchFamily="34" charset="0"/>
                </a:rPr>
                <a:t>Boundary</a:t>
              </a:r>
              <a:r>
                <a:rPr lang="de-DE" sz="1050" b="1" dirty="0">
                  <a:solidFill>
                    <a:schemeClr val="bg1"/>
                  </a:solidFill>
                  <a:latin typeface="Calibri" panose="020F0502020204030204" pitchFamily="34" charset="0"/>
                </a:rPr>
                <a:t> </a:t>
              </a:r>
              <a:r>
                <a:rPr lang="de-DE" sz="1050" b="1" dirty="0" err="1">
                  <a:solidFill>
                    <a:schemeClr val="bg1"/>
                  </a:solidFill>
                  <a:latin typeface="Calibri" panose="020F0502020204030204" pitchFamily="34" charset="0"/>
                </a:rPr>
                <a:t>Condition</a:t>
              </a:r>
              <a:endParaRPr lang="de-DE" sz="1050" b="1" dirty="0"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205" name="Rechteck 204"/>
            <p:cNvSpPr/>
            <p:nvPr/>
          </p:nvSpPr>
          <p:spPr bwMode="auto">
            <a:xfrm>
              <a:off x="5292080" y="3140968"/>
              <a:ext cx="225141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b="1" dirty="0" smtClean="0">
                  <a:latin typeface="Calibri" panose="020F0502020204030204" pitchFamily="34" charset="0"/>
                </a:rPr>
                <a:t>1</a:t>
              </a:r>
              <a:endParaRPr lang="de-DE" sz="1000" b="1" dirty="0">
                <a:latin typeface="Calibri" panose="020F0502020204030204" pitchFamily="34" charset="0"/>
              </a:endParaRPr>
            </a:p>
          </p:txBody>
        </p:sp>
        <p:sp>
          <p:nvSpPr>
            <p:cNvPr id="206" name="Rechteck 205"/>
            <p:cNvSpPr/>
            <p:nvPr/>
          </p:nvSpPr>
          <p:spPr bwMode="auto">
            <a:xfrm>
              <a:off x="6444296" y="3140968"/>
              <a:ext cx="792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b="1" dirty="0" smtClean="0">
                  <a:latin typeface="Calibri" panose="020F0502020204030204" pitchFamily="34" charset="0"/>
                </a:rPr>
                <a:t>0,93</a:t>
              </a:r>
              <a:endParaRPr lang="de-DE" sz="1000" b="1" dirty="0">
                <a:latin typeface="Calibri" panose="020F0502020204030204" pitchFamily="34" charset="0"/>
              </a:endParaRPr>
            </a:p>
          </p:txBody>
        </p:sp>
        <p:sp>
          <p:nvSpPr>
            <p:cNvPr id="207" name="Rechteck 206"/>
            <p:cNvSpPr/>
            <p:nvPr/>
          </p:nvSpPr>
          <p:spPr bwMode="auto">
            <a:xfrm>
              <a:off x="7236296" y="3140968"/>
              <a:ext cx="576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b="1" dirty="0" smtClean="0">
                  <a:latin typeface="Calibri" panose="020F0502020204030204" pitchFamily="34" charset="0"/>
                </a:rPr>
                <a:t>ABC</a:t>
              </a:r>
              <a:endParaRPr lang="de-DE" sz="1000" b="1" dirty="0">
                <a:latin typeface="Calibri" panose="020F0502020204030204" pitchFamily="34" charset="0"/>
              </a:endParaRPr>
            </a:p>
          </p:txBody>
        </p:sp>
        <p:sp>
          <p:nvSpPr>
            <p:cNvPr id="208" name="Rechteck 207"/>
            <p:cNvSpPr/>
            <p:nvPr/>
          </p:nvSpPr>
          <p:spPr bwMode="auto">
            <a:xfrm>
              <a:off x="5508104" y="3140968"/>
              <a:ext cx="936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b="1" dirty="0" smtClean="0">
                  <a:latin typeface="Calibri" panose="020F0502020204030204" pitchFamily="34" charset="0"/>
                </a:rPr>
                <a:t>DE123456…</a:t>
              </a:r>
              <a:endParaRPr lang="de-DE" sz="1000" b="1" dirty="0">
                <a:latin typeface="Calibri" panose="020F0502020204030204" pitchFamily="34" charset="0"/>
              </a:endParaRPr>
            </a:p>
          </p:txBody>
        </p:sp>
        <p:sp>
          <p:nvSpPr>
            <p:cNvPr id="209" name="Rechteck 208"/>
            <p:cNvSpPr/>
            <p:nvPr/>
          </p:nvSpPr>
          <p:spPr bwMode="auto">
            <a:xfrm>
              <a:off x="5292080" y="3285000"/>
              <a:ext cx="225141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00" b="1" dirty="0">
                <a:latin typeface="Calibri" panose="020F0502020204030204" pitchFamily="34" charset="0"/>
              </a:endParaRPr>
            </a:p>
          </p:txBody>
        </p:sp>
        <p:sp>
          <p:nvSpPr>
            <p:cNvPr id="210" name="Rechteck 209"/>
            <p:cNvSpPr/>
            <p:nvPr/>
          </p:nvSpPr>
          <p:spPr bwMode="auto">
            <a:xfrm>
              <a:off x="6444296" y="3285000"/>
              <a:ext cx="792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00" b="1" dirty="0">
                <a:latin typeface="Calibri" panose="020F0502020204030204" pitchFamily="34" charset="0"/>
              </a:endParaRPr>
            </a:p>
          </p:txBody>
        </p:sp>
        <p:sp>
          <p:nvSpPr>
            <p:cNvPr id="211" name="Rechteck 210"/>
            <p:cNvSpPr/>
            <p:nvPr/>
          </p:nvSpPr>
          <p:spPr bwMode="auto">
            <a:xfrm>
              <a:off x="7236296" y="3285000"/>
              <a:ext cx="576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00" b="1" dirty="0">
                <a:latin typeface="Calibri" panose="020F0502020204030204" pitchFamily="34" charset="0"/>
              </a:endParaRPr>
            </a:p>
          </p:txBody>
        </p:sp>
        <p:sp>
          <p:nvSpPr>
            <p:cNvPr id="212" name="Rechteck 211"/>
            <p:cNvSpPr/>
            <p:nvPr/>
          </p:nvSpPr>
          <p:spPr bwMode="auto">
            <a:xfrm>
              <a:off x="5508104" y="3285000"/>
              <a:ext cx="936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00" b="1" dirty="0">
                <a:latin typeface="Calibri" panose="020F0502020204030204" pitchFamily="34" charset="0"/>
              </a:endParaRPr>
            </a:p>
          </p:txBody>
        </p:sp>
        <p:sp>
          <p:nvSpPr>
            <p:cNvPr id="213" name="Rechteck 212"/>
            <p:cNvSpPr/>
            <p:nvPr/>
          </p:nvSpPr>
          <p:spPr bwMode="auto">
            <a:xfrm>
              <a:off x="5292080" y="3429016"/>
              <a:ext cx="225141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b="1" dirty="0" smtClean="0">
                  <a:latin typeface="Calibri" panose="020F0502020204030204" pitchFamily="34" charset="0"/>
                </a:rPr>
                <a:t>n</a:t>
              </a:r>
              <a:endParaRPr lang="de-DE" sz="1000" b="1" dirty="0">
                <a:latin typeface="Calibri" panose="020F0502020204030204" pitchFamily="34" charset="0"/>
              </a:endParaRPr>
            </a:p>
          </p:txBody>
        </p:sp>
        <p:sp>
          <p:nvSpPr>
            <p:cNvPr id="214" name="Rechteck 213"/>
            <p:cNvSpPr/>
            <p:nvPr/>
          </p:nvSpPr>
          <p:spPr bwMode="auto">
            <a:xfrm>
              <a:off x="6444296" y="3429016"/>
              <a:ext cx="792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b="1" dirty="0" smtClean="0">
                  <a:latin typeface="Calibri" panose="020F0502020204030204" pitchFamily="34" charset="0"/>
                </a:rPr>
                <a:t>0 </a:t>
              </a:r>
              <a:r>
                <a:rPr lang="de-DE" sz="1000" b="1" dirty="0" smtClean="0">
                  <a:latin typeface="Calibri" panose="020F0502020204030204" pitchFamily="34" charset="0"/>
                  <a:sym typeface="Wingdings" panose="05000000000000000000" pitchFamily="2" charset="2"/>
                </a:rPr>
                <a:t> 1</a:t>
              </a:r>
              <a:endParaRPr lang="de-DE" sz="1000" b="1" dirty="0">
                <a:latin typeface="Calibri" panose="020F0502020204030204" pitchFamily="34" charset="0"/>
              </a:endParaRPr>
            </a:p>
          </p:txBody>
        </p:sp>
        <p:sp>
          <p:nvSpPr>
            <p:cNvPr id="215" name="Rechteck 214"/>
            <p:cNvSpPr/>
            <p:nvPr/>
          </p:nvSpPr>
          <p:spPr bwMode="auto">
            <a:xfrm>
              <a:off x="7236296" y="3429016"/>
              <a:ext cx="576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b="1" dirty="0" smtClean="0">
                  <a:latin typeface="Calibri" panose="020F0502020204030204" pitchFamily="34" charset="0"/>
                </a:rPr>
                <a:t>XYZ</a:t>
              </a:r>
              <a:endParaRPr lang="de-DE" sz="1000" b="1" dirty="0">
                <a:latin typeface="Calibri" panose="020F0502020204030204" pitchFamily="34" charset="0"/>
              </a:endParaRPr>
            </a:p>
          </p:txBody>
        </p:sp>
        <p:sp>
          <p:nvSpPr>
            <p:cNvPr id="216" name="Rechteck 215"/>
            <p:cNvSpPr/>
            <p:nvPr/>
          </p:nvSpPr>
          <p:spPr bwMode="auto">
            <a:xfrm>
              <a:off x="5508104" y="3429016"/>
              <a:ext cx="936000" cy="144000"/>
            </a:xfrm>
            <a:prstGeom prst="rect">
              <a:avLst/>
            </a:prstGeom>
            <a:solidFill>
              <a:schemeClr val="bg1"/>
            </a:solidFill>
            <a:ln w="2857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00" b="1" dirty="0" smtClean="0">
                  <a:latin typeface="Calibri" panose="020F0502020204030204" pitchFamily="34" charset="0"/>
                </a:rPr>
                <a:t>DE987654…</a:t>
              </a:r>
              <a:endParaRPr lang="de-DE" sz="1000" b="1" dirty="0">
                <a:latin typeface="Calibri" panose="020F0502020204030204" pitchFamily="34" charset="0"/>
              </a:endParaRPr>
            </a:p>
          </p:txBody>
        </p:sp>
        <p:sp>
          <p:nvSpPr>
            <p:cNvPr id="217" name="Rechteck 216"/>
            <p:cNvSpPr/>
            <p:nvPr/>
          </p:nvSpPr>
          <p:spPr bwMode="auto">
            <a:xfrm>
              <a:off x="5256076" y="3285000"/>
              <a:ext cx="2592000" cy="144000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rgbClr val="FFFFFF">
                    <a:alpha val="0"/>
                  </a:srgbClr>
                </a:gs>
                <a:gs pos="50000">
                  <a:schemeClr val="bg1"/>
                </a:gs>
              </a:gsLst>
              <a:lin ang="5400000" scaled="1"/>
              <a:tileRect/>
            </a:gradFill>
            <a:ln w="285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36000" tIns="36000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de-DE" sz="1050" b="1" dirty="0">
                <a:solidFill>
                  <a:schemeClr val="accent1"/>
                </a:solidFill>
                <a:latin typeface="Calibri" panose="020F05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61086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Rectangle 3"/>
          <p:cNvSpPr>
            <a:spLocks noGrp="1" noChangeArrowheads="1"/>
          </p:cNvSpPr>
          <p:nvPr>
            <p:ph idx="1"/>
          </p:nvPr>
        </p:nvSpPr>
        <p:spPr>
          <a:xfrm>
            <a:off x="251520" y="1988840"/>
            <a:ext cx="4284000" cy="4104000"/>
          </a:xfrm>
          <a:noFill/>
        </p:spPr>
        <p:txBody>
          <a:bodyPr/>
          <a:lstStyle/>
          <a:p>
            <a:pPr marL="0" indent="0">
              <a:spcBef>
                <a:spcPts val="300"/>
              </a:spcBef>
              <a:spcAft>
                <a:spcPts val="0"/>
              </a:spcAft>
              <a:buNone/>
            </a:pPr>
            <a:r>
              <a:rPr lang="en-GB" b="1" dirty="0" smtClean="0">
                <a:ea typeface="ＭＳ Ｐゴシック" pitchFamily="34" charset="-128"/>
              </a:rPr>
              <a:t>The demonstration consists of: 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GB" dirty="0">
                <a:ea typeface="ＭＳ Ｐゴシック" pitchFamily="34" charset="-128"/>
              </a:rPr>
              <a:t>a</a:t>
            </a:r>
            <a:r>
              <a:rPr lang="en-GB" dirty="0" smtClean="0">
                <a:ea typeface="ＭＳ Ｐゴシック" pitchFamily="34" charset="-128"/>
              </a:rPr>
              <a:t> field-test with real customers </a:t>
            </a:r>
            <a:br>
              <a:rPr lang="en-GB" dirty="0" smtClean="0">
                <a:ea typeface="ＭＳ Ｐゴシック" pitchFamily="34" charset="-128"/>
              </a:rPr>
            </a:br>
            <a:r>
              <a:rPr lang="en-GB" dirty="0" smtClean="0">
                <a:ea typeface="ＭＳ Ｐゴシック" pitchFamily="34" charset="-128"/>
              </a:rPr>
              <a:t>(~5 MW RES generation, ~ 1,5 MW load)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GB" dirty="0" smtClean="0">
                <a:ea typeface="ＭＳ Ｐゴシック" pitchFamily="34" charset="-128"/>
              </a:rPr>
              <a:t>a simulation for anticipating future scenarios in the year 2035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endParaRPr lang="en-GB" dirty="0" smtClean="0">
              <a:ea typeface="ＭＳ Ｐゴシック" pitchFamily="34" charset="-128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en-GB" b="1" dirty="0" smtClean="0">
                <a:ea typeface="ＭＳ Ｐゴシック" pitchFamily="34" charset="-128"/>
              </a:rPr>
              <a:t>The goal of the demonstration is</a:t>
            </a:r>
          </a:p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GB" dirty="0">
                <a:ea typeface="ＭＳ Ｐゴシック" pitchFamily="34" charset="-128"/>
              </a:rPr>
              <a:t>To validate </a:t>
            </a:r>
            <a:r>
              <a:rPr lang="en-GB" dirty="0" smtClean="0">
                <a:ea typeface="ＭＳ Ｐゴシック" pitchFamily="34" charset="-128"/>
              </a:rPr>
              <a:t>all new </a:t>
            </a:r>
            <a:r>
              <a:rPr lang="en-GB" dirty="0">
                <a:ea typeface="ＭＳ Ｐゴシック" pitchFamily="34" charset="-128"/>
              </a:rPr>
              <a:t>operational concepts </a:t>
            </a:r>
            <a:r>
              <a:rPr lang="en-GB" dirty="0" smtClean="0">
                <a:ea typeface="ＭＳ Ｐゴシック" pitchFamily="34" charset="-128"/>
              </a:rPr>
              <a:t>  </a:t>
            </a:r>
            <a:endParaRPr lang="en-GB" dirty="0">
              <a:ea typeface="ＭＳ Ｐゴシック" pitchFamily="34" charset="-128"/>
            </a:endParaRPr>
          </a:p>
          <a:p>
            <a:pPr eaLnBrk="1" hangingPunct="1">
              <a:spcBef>
                <a:spcPts val="300"/>
              </a:spcBef>
              <a:spcAft>
                <a:spcPts val="0"/>
              </a:spcAft>
            </a:pPr>
            <a:r>
              <a:rPr lang="en-GB" dirty="0" smtClean="0">
                <a:ea typeface="ＭＳ Ｐゴシック" pitchFamily="34" charset="-128"/>
              </a:rPr>
              <a:t>Testing the solution in a real environment and pave the way for a large-scale rollout</a:t>
            </a:r>
          </a:p>
          <a:p>
            <a:pPr eaLnBrk="1" hangingPunct="1">
              <a:spcBef>
                <a:spcPts val="300"/>
              </a:spcBef>
              <a:spcAft>
                <a:spcPts val="0"/>
              </a:spcAft>
            </a:pPr>
            <a:r>
              <a:rPr lang="en-GB" dirty="0" smtClean="0">
                <a:ea typeface="ＭＳ Ｐゴシック" pitchFamily="34" charset="-128"/>
              </a:rPr>
              <a:t>Trigging discussions with similar projects and applications and promoting the results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</a:t>
            </a:r>
            <a:r>
              <a:rPr lang="de-DE" dirty="0" smtClean="0"/>
              <a:t> </a:t>
            </a:r>
            <a:r>
              <a:rPr lang="de-DE" dirty="0" smtClean="0"/>
              <a:t>real-</a:t>
            </a:r>
            <a:r>
              <a:rPr lang="de-DE" dirty="0" err="1" smtClean="0"/>
              <a:t>life</a:t>
            </a:r>
            <a:r>
              <a:rPr lang="de-DE" dirty="0" smtClean="0"/>
              <a:t> </a:t>
            </a:r>
            <a:r>
              <a:rPr lang="de-DE" dirty="0" err="1" smtClean="0"/>
              <a:t>demonstration</a:t>
            </a:r>
            <a:r>
              <a:rPr lang="de-DE" dirty="0" smtClean="0"/>
              <a:t> will </a:t>
            </a:r>
            <a:r>
              <a:rPr lang="de-DE" dirty="0" err="1" smtClean="0"/>
              <a:t>take</a:t>
            </a:r>
            <a:r>
              <a:rPr lang="de-DE" dirty="0" smtClean="0"/>
              <a:t> </a:t>
            </a:r>
            <a:r>
              <a:rPr lang="de-DE" dirty="0" err="1" smtClean="0"/>
              <a:t>place</a:t>
            </a:r>
            <a:r>
              <a:rPr lang="de-DE" dirty="0" smtClean="0"/>
              <a:t> in an </a:t>
            </a:r>
            <a:r>
              <a:rPr lang="de-DE" dirty="0" err="1" smtClean="0"/>
              <a:t>area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high </a:t>
            </a:r>
            <a:r>
              <a:rPr lang="de-DE" dirty="0" err="1" smtClean="0"/>
              <a:t>penetration</a:t>
            </a:r>
            <a:r>
              <a:rPr lang="de-DE" dirty="0" smtClean="0"/>
              <a:t> of RES</a:t>
            </a:r>
            <a:endParaRPr lang="de-DE" dirty="0"/>
          </a:p>
        </p:txBody>
      </p:sp>
      <p:pic>
        <p:nvPicPr>
          <p:cNvPr id="12" name="Picture 35"/>
          <p:cNvPicPr>
            <a:picLocks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624" r="18293" b="19376"/>
          <a:stretch/>
        </p:blipFill>
        <p:spPr bwMode="gray">
          <a:xfrm>
            <a:off x="4644009" y="1988840"/>
            <a:ext cx="4248000" cy="4104000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3" name="Gerade Verbindung 22"/>
          <p:cNvCxnSpPr/>
          <p:nvPr/>
        </p:nvCxnSpPr>
        <p:spPr bwMode="auto">
          <a:xfrm>
            <a:off x="5832468" y="2637116"/>
            <a:ext cx="2880000" cy="1116000"/>
          </a:xfrm>
          <a:prstGeom prst="line">
            <a:avLst/>
          </a:prstGeom>
          <a:noFill/>
          <a:ln w="28575" cap="rnd">
            <a:solidFill>
              <a:schemeClr val="accent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cxnSp>
      <p:sp>
        <p:nvSpPr>
          <p:cNvPr id="7" name="Rechteck 6"/>
          <p:cNvSpPr/>
          <p:nvPr/>
        </p:nvSpPr>
        <p:spPr bwMode="auto">
          <a:xfrm>
            <a:off x="4752020" y="2097422"/>
            <a:ext cx="4032000" cy="288000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Aft>
                <a:spcPts val="0"/>
              </a:spcAft>
              <a:buClr>
                <a:schemeClr val="accent1"/>
              </a:buClr>
            </a:pPr>
            <a:r>
              <a:rPr lang="de-DE" sz="1400" b="1" dirty="0">
                <a:latin typeface="Calibri" panose="020F0502020204030204" pitchFamily="34" charset="0"/>
              </a:rPr>
              <a:t>7,5 MW </a:t>
            </a:r>
            <a:r>
              <a:rPr lang="de-DE" sz="1400" b="1" dirty="0" err="1" smtClean="0">
                <a:latin typeface="Calibri" panose="020F0502020204030204" pitchFamily="34" charset="0"/>
              </a:rPr>
              <a:t>maximum</a:t>
            </a:r>
            <a:r>
              <a:rPr lang="de-DE" sz="1400" b="1" dirty="0" smtClean="0">
                <a:latin typeface="Calibri" panose="020F0502020204030204" pitchFamily="34" charset="0"/>
              </a:rPr>
              <a:t> Load &amp; </a:t>
            </a:r>
            <a:r>
              <a:rPr lang="de-DE" sz="1400" b="1" dirty="0">
                <a:latin typeface="Calibri" panose="020F0502020204030204" pitchFamily="34" charset="0"/>
              </a:rPr>
              <a:t>23,5 MW </a:t>
            </a:r>
            <a:r>
              <a:rPr lang="de-DE" sz="1400" b="1" dirty="0" err="1" smtClean="0">
                <a:latin typeface="Calibri" panose="020F0502020204030204" pitchFamily="34" charset="0"/>
              </a:rPr>
              <a:t>installed</a:t>
            </a:r>
            <a:r>
              <a:rPr lang="de-DE" sz="1400" b="1" dirty="0" smtClean="0">
                <a:latin typeface="Calibri" panose="020F0502020204030204" pitchFamily="34" charset="0"/>
              </a:rPr>
              <a:t> RES</a:t>
            </a:r>
            <a:endParaRPr lang="de-DE" sz="1400" b="1" dirty="0">
              <a:latin typeface="Calibri" panose="020F0502020204030204" pitchFamily="34" charset="0"/>
            </a:endParaRPr>
          </a:p>
        </p:txBody>
      </p:sp>
      <p:sp>
        <p:nvSpPr>
          <p:cNvPr id="4" name="Rechteck 3"/>
          <p:cNvSpPr/>
          <p:nvPr/>
        </p:nvSpPr>
        <p:spPr bwMode="auto">
          <a:xfrm>
            <a:off x="5616116" y="2637446"/>
            <a:ext cx="216000" cy="216000"/>
          </a:xfrm>
          <a:prstGeom prst="rect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266700" marR="0" indent="-26670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100000"/>
              </a:spcAft>
              <a:buClr>
                <a:schemeClr val="accent1"/>
              </a:buClr>
              <a:buSzTx/>
              <a:buFont typeface="Arial" pitchFamily="34" charset="0"/>
              <a:buChar char="&gt;"/>
              <a:tabLst/>
            </a:pPr>
            <a:endParaRPr kumimoji="0" lang="de-DE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Calibri" panose="020F0502020204030204" pitchFamily="34" charset="0"/>
            </a:endParaRPr>
          </a:p>
        </p:txBody>
      </p:sp>
      <p:cxnSp>
        <p:nvCxnSpPr>
          <p:cNvPr id="27" name="Gerade Verbindung 26"/>
          <p:cNvCxnSpPr/>
          <p:nvPr/>
        </p:nvCxnSpPr>
        <p:spPr bwMode="auto">
          <a:xfrm>
            <a:off x="5616436" y="2853470"/>
            <a:ext cx="395724" cy="3024000"/>
          </a:xfrm>
          <a:prstGeom prst="line">
            <a:avLst/>
          </a:prstGeom>
          <a:noFill/>
          <a:ln w="28575" cap="rnd">
            <a:solidFill>
              <a:schemeClr val="accent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cxnSp>
      <p:grpSp>
        <p:nvGrpSpPr>
          <p:cNvPr id="10" name="Gruppieren 9"/>
          <p:cNvGrpSpPr/>
          <p:nvPr/>
        </p:nvGrpSpPr>
        <p:grpSpPr>
          <a:xfrm>
            <a:off x="6028677" y="3758931"/>
            <a:ext cx="2700002" cy="2160000"/>
            <a:chOff x="6012158" y="3716498"/>
            <a:chExt cx="2700002" cy="2160000"/>
          </a:xfrm>
        </p:grpSpPr>
        <p:grpSp>
          <p:nvGrpSpPr>
            <p:cNvPr id="13" name="Gruppieren 12"/>
            <p:cNvGrpSpPr>
              <a:grpSpLocks/>
            </p:cNvGrpSpPr>
            <p:nvPr/>
          </p:nvGrpSpPr>
          <p:grpSpPr>
            <a:xfrm>
              <a:off x="6012158" y="3716498"/>
              <a:ext cx="2700002" cy="2160000"/>
              <a:chOff x="3202664" y="1484725"/>
              <a:chExt cx="2200342" cy="1770301"/>
            </a:xfrm>
          </p:grpSpPr>
          <p:pic>
            <p:nvPicPr>
              <p:cNvPr id="15" name="Picture 7"/>
              <p:cNvPicPr>
                <a:picLocks noChangeAspect="1" noChangeArrowheads="1"/>
              </p:cNvPicPr>
              <p:nvPr/>
            </p:nvPicPr>
            <p:blipFill rotWithShape="1">
              <a:blip r:embed="rId3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backgroundRemoval t="742" b="49691" l="0" r="97913">
                            <a14:foregroundMark x1="35484" y1="12237" x2="35484" y2="12237"/>
                            <a14:foregroundMark x1="61480" y1="23486" x2="61480" y2="23486"/>
                            <a14:foregroundMark x1="86907" y1="12485" x2="86907" y2="12485"/>
                            <a14:foregroundMark x1="84820" y1="24475" x2="84820" y2="24475"/>
                          </a14:backgroundRemoval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0766" r="6647" b="55437"/>
              <a:stretch/>
            </p:blipFill>
            <p:spPr bwMode="auto">
              <a:xfrm>
                <a:off x="3202664" y="1484725"/>
                <a:ext cx="2200342" cy="1770301"/>
              </a:xfrm>
              <a:prstGeom prst="rect">
                <a:avLst/>
              </a:prstGeom>
              <a:solidFill>
                <a:schemeClr val="bg1"/>
              </a:solidFill>
              <a:ln w="28575">
                <a:solidFill>
                  <a:schemeClr val="accent1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extLst/>
            </p:spPr>
          </p:pic>
          <p:sp>
            <p:nvSpPr>
              <p:cNvPr id="17" name="Rechteck 16"/>
              <p:cNvSpPr/>
              <p:nvPr/>
            </p:nvSpPr>
            <p:spPr bwMode="auto">
              <a:xfrm>
                <a:off x="4245137" y="2601209"/>
                <a:ext cx="684000" cy="144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tabLst/>
                </a:pPr>
                <a:r>
                  <a:rPr lang="de-DE" sz="700" dirty="0" smtClean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Lengerich</a:t>
                </a:r>
                <a:endParaRPr kumimoji="0" lang="de-DE" sz="70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19" name="Rechteck 18"/>
              <p:cNvSpPr/>
              <p:nvPr/>
            </p:nvSpPr>
            <p:spPr bwMode="auto">
              <a:xfrm>
                <a:off x="3599892" y="2699298"/>
                <a:ext cx="426491" cy="144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tabLst/>
                </a:pPr>
                <a:r>
                  <a:rPr lang="de-DE" sz="700" dirty="0" smtClean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Lange</a:t>
                </a:r>
                <a:endParaRPr kumimoji="0" lang="de-DE" sz="70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24" name="Rechteck 23"/>
              <p:cNvSpPr/>
              <p:nvPr/>
            </p:nvSpPr>
            <p:spPr bwMode="auto">
              <a:xfrm>
                <a:off x="4968044" y="2528916"/>
                <a:ext cx="324000" cy="144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tabLst/>
                </a:pPr>
                <a:r>
                  <a:rPr lang="de-DE" sz="700" dirty="0" err="1" smtClean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Handrup</a:t>
                </a:r>
                <a:endParaRPr kumimoji="0" lang="de-DE" sz="70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25" name="Rechteck 24"/>
              <p:cNvSpPr/>
              <p:nvPr/>
            </p:nvSpPr>
            <p:spPr bwMode="auto">
              <a:xfrm>
                <a:off x="4932080" y="1774977"/>
                <a:ext cx="360000" cy="144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tabLst/>
                </a:pPr>
                <a:r>
                  <a:rPr lang="de-DE" sz="700" dirty="0" err="1" smtClean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Wettrup</a:t>
                </a:r>
                <a:endParaRPr kumimoji="0" lang="de-DE" sz="70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26" name="Rechteck 25"/>
              <p:cNvSpPr/>
              <p:nvPr/>
            </p:nvSpPr>
            <p:spPr bwMode="auto">
              <a:xfrm>
                <a:off x="3923928" y="1921287"/>
                <a:ext cx="426491" cy="144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tabLst/>
                </a:pPr>
                <a:r>
                  <a:rPr lang="de-DE" sz="700" dirty="0" smtClean="0">
                    <a:solidFill>
                      <a:schemeClr val="bg1"/>
                    </a:solidFill>
                    <a:latin typeface="Calibri" panose="020F0502020204030204" pitchFamily="34" charset="0"/>
                  </a:rPr>
                  <a:t>Gersten</a:t>
                </a:r>
                <a:endParaRPr kumimoji="0" lang="de-DE" sz="700" i="0" u="none" strike="noStrike" cap="none" normalizeH="0" baseline="0" dirty="0" smtClean="0">
                  <a:ln>
                    <a:noFill/>
                  </a:ln>
                  <a:solidFill>
                    <a:schemeClr val="bg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31" name="Freihandform 30"/>
              <p:cNvSpPr/>
              <p:nvPr/>
            </p:nvSpPr>
            <p:spPr bwMode="auto">
              <a:xfrm>
                <a:off x="3275982" y="1576151"/>
                <a:ext cx="2113807" cy="1644732"/>
              </a:xfrm>
              <a:custGeom>
                <a:avLst/>
                <a:gdLst>
                  <a:gd name="connsiteX0" fmla="*/ 700644 w 2113807"/>
                  <a:gd name="connsiteY0" fmla="*/ 11875 h 1644732"/>
                  <a:gd name="connsiteX1" fmla="*/ 225631 w 2113807"/>
                  <a:gd name="connsiteY1" fmla="*/ 469075 h 1644732"/>
                  <a:gd name="connsiteX2" fmla="*/ 0 w 2113807"/>
                  <a:gd name="connsiteY2" fmla="*/ 997527 h 1644732"/>
                  <a:gd name="connsiteX3" fmla="*/ 498763 w 2113807"/>
                  <a:gd name="connsiteY3" fmla="*/ 1644732 h 1644732"/>
                  <a:gd name="connsiteX4" fmla="*/ 1246909 w 2113807"/>
                  <a:gd name="connsiteY4" fmla="*/ 1312223 h 1644732"/>
                  <a:gd name="connsiteX5" fmla="*/ 2060368 w 2113807"/>
                  <a:gd name="connsiteY5" fmla="*/ 1252846 h 1644732"/>
                  <a:gd name="connsiteX6" fmla="*/ 2078181 w 2113807"/>
                  <a:gd name="connsiteY6" fmla="*/ 742207 h 1644732"/>
                  <a:gd name="connsiteX7" fmla="*/ 2113807 w 2113807"/>
                  <a:gd name="connsiteY7" fmla="*/ 350322 h 1644732"/>
                  <a:gd name="connsiteX8" fmla="*/ 1953491 w 2113807"/>
                  <a:gd name="connsiteY8" fmla="*/ 65314 h 1644732"/>
                  <a:gd name="connsiteX9" fmla="*/ 1466602 w 2113807"/>
                  <a:gd name="connsiteY9" fmla="*/ 148441 h 1644732"/>
                  <a:gd name="connsiteX10" fmla="*/ 1157844 w 2113807"/>
                  <a:gd name="connsiteY10" fmla="*/ 0 h 1644732"/>
                  <a:gd name="connsiteX11" fmla="*/ 700644 w 2113807"/>
                  <a:gd name="connsiteY11" fmla="*/ 11875 h 1644732"/>
                  <a:gd name="connsiteX0" fmla="*/ 700644 w 2113807"/>
                  <a:gd name="connsiteY0" fmla="*/ 11875 h 1644732"/>
                  <a:gd name="connsiteX1" fmla="*/ 225631 w 2113807"/>
                  <a:gd name="connsiteY1" fmla="*/ 469075 h 1644732"/>
                  <a:gd name="connsiteX2" fmla="*/ 0 w 2113807"/>
                  <a:gd name="connsiteY2" fmla="*/ 997527 h 1644732"/>
                  <a:gd name="connsiteX3" fmla="*/ 498763 w 2113807"/>
                  <a:gd name="connsiteY3" fmla="*/ 1644732 h 1644732"/>
                  <a:gd name="connsiteX4" fmla="*/ 1191250 w 2113807"/>
                  <a:gd name="connsiteY4" fmla="*/ 1367882 h 1644732"/>
                  <a:gd name="connsiteX5" fmla="*/ 2060368 w 2113807"/>
                  <a:gd name="connsiteY5" fmla="*/ 1252846 h 1644732"/>
                  <a:gd name="connsiteX6" fmla="*/ 2078181 w 2113807"/>
                  <a:gd name="connsiteY6" fmla="*/ 742207 h 1644732"/>
                  <a:gd name="connsiteX7" fmla="*/ 2113807 w 2113807"/>
                  <a:gd name="connsiteY7" fmla="*/ 350322 h 1644732"/>
                  <a:gd name="connsiteX8" fmla="*/ 1953491 w 2113807"/>
                  <a:gd name="connsiteY8" fmla="*/ 65314 h 1644732"/>
                  <a:gd name="connsiteX9" fmla="*/ 1466602 w 2113807"/>
                  <a:gd name="connsiteY9" fmla="*/ 148441 h 1644732"/>
                  <a:gd name="connsiteX10" fmla="*/ 1157844 w 2113807"/>
                  <a:gd name="connsiteY10" fmla="*/ 0 h 1644732"/>
                  <a:gd name="connsiteX11" fmla="*/ 700644 w 2113807"/>
                  <a:gd name="connsiteY11" fmla="*/ 11875 h 16447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2113807" h="1644732">
                    <a:moveTo>
                      <a:pt x="700644" y="11875"/>
                    </a:moveTo>
                    <a:lnTo>
                      <a:pt x="225631" y="469075"/>
                    </a:lnTo>
                    <a:lnTo>
                      <a:pt x="0" y="997527"/>
                    </a:lnTo>
                    <a:lnTo>
                      <a:pt x="498763" y="1644732"/>
                    </a:lnTo>
                    <a:lnTo>
                      <a:pt x="1191250" y="1367882"/>
                    </a:lnTo>
                    <a:lnTo>
                      <a:pt x="2060368" y="1252846"/>
                    </a:lnTo>
                    <a:lnTo>
                      <a:pt x="2078181" y="742207"/>
                    </a:lnTo>
                    <a:lnTo>
                      <a:pt x="2113807" y="350322"/>
                    </a:lnTo>
                    <a:lnTo>
                      <a:pt x="1953491" y="65314"/>
                    </a:lnTo>
                    <a:lnTo>
                      <a:pt x="1466602" y="148441"/>
                    </a:lnTo>
                    <a:lnTo>
                      <a:pt x="1157844" y="0"/>
                    </a:lnTo>
                    <a:lnTo>
                      <a:pt x="700644" y="11875"/>
                    </a:lnTo>
                    <a:close/>
                  </a:path>
                </a:pathLst>
              </a:custGeom>
              <a:solidFill>
                <a:schemeClr val="accent4">
                  <a:lumMod val="60000"/>
                  <a:lumOff val="40000"/>
                  <a:alpha val="50000"/>
                </a:schemeClr>
              </a:solidFill>
              <a:ln w="6350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4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34" name="Rechteck 33"/>
              <p:cNvSpPr/>
              <p:nvPr/>
            </p:nvSpPr>
            <p:spPr bwMode="auto">
              <a:xfrm>
                <a:off x="3962949" y="2126746"/>
                <a:ext cx="1085501" cy="180020"/>
              </a:xfrm>
              <a:prstGeom prst="rect">
                <a:avLst/>
              </a:prstGeom>
              <a:noFill/>
              <a:ln>
                <a:noFill/>
                <a:headEnd type="none" w="med" len="med"/>
                <a:tailEnd type="none" w="med" len="med"/>
              </a:ln>
            </p:spPr>
            <p:style>
              <a:lnRef idx="2">
                <a:schemeClr val="accent3">
                  <a:shade val="50000"/>
                </a:schemeClr>
              </a:lnRef>
              <a:fillRef idx="1">
                <a:schemeClr val="accent3"/>
              </a:fillRef>
              <a:effectRef idx="0">
                <a:schemeClr val="accent3"/>
              </a:effectRef>
              <a:fontRef idx="minor">
                <a:schemeClr val="lt1"/>
              </a:fontRef>
            </p:style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R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tabLst/>
                </a:pPr>
                <a:r>
                  <a:rPr lang="de-DE" sz="1600" b="1" dirty="0" smtClean="0">
                    <a:solidFill>
                      <a:schemeClr val="bg1"/>
                    </a:solidFill>
                    <a:effectLst>
                      <a:outerShdw blurRad="50800" dist="38100" dir="2700000" algn="tl" rotWithShape="0">
                        <a:prstClr val="black">
                          <a:alpha val="40000"/>
                        </a:prstClr>
                      </a:outerShdw>
                    </a:effectLst>
                    <a:latin typeface="Calibri" panose="020F0502020204030204" pitchFamily="34" charset="0"/>
                  </a:rPr>
                  <a:t>UA Lengerich</a:t>
                </a:r>
                <a:endParaRPr kumimoji="0" lang="de-DE" sz="1600" b="1" i="0" u="none" strike="noStrike" cap="none" normalizeH="0" baseline="0" dirty="0" smtClean="0">
                  <a:solidFill>
                    <a:schemeClr val="bg1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2" name="Ellipse 1"/>
            <p:cNvSpPr/>
            <p:nvPr/>
          </p:nvSpPr>
          <p:spPr bwMode="auto">
            <a:xfrm>
              <a:off x="7776356" y="4917384"/>
              <a:ext cx="144000" cy="144000"/>
            </a:xfrm>
            <a:prstGeom prst="ellipse">
              <a:avLst/>
            </a:prstGeom>
            <a:solidFill>
              <a:schemeClr val="accent1"/>
            </a:solidFill>
            <a:ln w="285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266700" marR="0" indent="-26670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100000"/>
                </a:spcAft>
                <a:buClr>
                  <a:schemeClr val="accent1"/>
                </a:buClr>
                <a:buSzTx/>
                <a:buFont typeface="Arial" pitchFamily="34" charset="0"/>
                <a:buChar char="&gt;"/>
                <a:tabLst/>
              </a:pPr>
              <a:endParaRPr kumimoji="0" lang="de-DE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</a:endParaRPr>
            </a:p>
          </p:txBody>
        </p:sp>
      </p:grpSp>
      <p:grpSp>
        <p:nvGrpSpPr>
          <p:cNvPr id="28" name="Gruppieren 27"/>
          <p:cNvGrpSpPr/>
          <p:nvPr/>
        </p:nvGrpSpPr>
        <p:grpSpPr>
          <a:xfrm>
            <a:off x="323616" y="1268761"/>
            <a:ext cx="8568864" cy="576063"/>
            <a:chOff x="251552" y="1124745"/>
            <a:chExt cx="8568864" cy="576063"/>
          </a:xfrm>
        </p:grpSpPr>
        <p:grpSp>
          <p:nvGrpSpPr>
            <p:cNvPr id="29" name="Gruppieren 28"/>
            <p:cNvGrpSpPr/>
            <p:nvPr/>
          </p:nvGrpSpPr>
          <p:grpSpPr>
            <a:xfrm>
              <a:off x="575556" y="1268760"/>
              <a:ext cx="7776864" cy="216024"/>
              <a:chOff x="251520" y="1952836"/>
              <a:chExt cx="7776864" cy="216024"/>
            </a:xfrm>
          </p:grpSpPr>
          <p:sp>
            <p:nvSpPr>
              <p:cNvPr id="49" name="Rechteck 48"/>
              <p:cNvSpPr/>
              <p:nvPr/>
            </p:nvSpPr>
            <p:spPr bwMode="auto">
              <a:xfrm>
                <a:off x="251520" y="1952860"/>
                <a:ext cx="216000" cy="216000"/>
              </a:xfrm>
              <a:prstGeom prst="rect">
                <a:avLst/>
              </a:prstGeom>
              <a:solidFill>
                <a:schemeClr val="accent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50" name="Rechteck 49"/>
              <p:cNvSpPr/>
              <p:nvPr/>
            </p:nvSpPr>
            <p:spPr bwMode="auto">
              <a:xfrm>
                <a:off x="467544" y="1952836"/>
                <a:ext cx="216000" cy="216000"/>
              </a:xfrm>
              <a:prstGeom prst="rect">
                <a:avLst/>
              </a:prstGeom>
              <a:solidFill>
                <a:schemeClr val="accent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51" name="Rechteck 50"/>
              <p:cNvSpPr/>
              <p:nvPr/>
            </p:nvSpPr>
            <p:spPr bwMode="auto">
              <a:xfrm>
                <a:off x="683592" y="1952860"/>
                <a:ext cx="216000" cy="216000"/>
              </a:xfrm>
              <a:prstGeom prst="rect">
                <a:avLst/>
              </a:prstGeom>
              <a:solidFill>
                <a:schemeClr val="accent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52" name="Rechteck 51"/>
              <p:cNvSpPr/>
              <p:nvPr/>
            </p:nvSpPr>
            <p:spPr bwMode="auto">
              <a:xfrm>
                <a:off x="899616" y="1952836"/>
                <a:ext cx="216000" cy="216000"/>
              </a:xfrm>
              <a:prstGeom prst="rect">
                <a:avLst/>
              </a:prstGeom>
              <a:solidFill>
                <a:schemeClr val="accent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53" name="Rechteck 52"/>
              <p:cNvSpPr/>
              <p:nvPr/>
            </p:nvSpPr>
            <p:spPr bwMode="auto">
              <a:xfrm>
                <a:off x="1115616" y="1952860"/>
                <a:ext cx="216000" cy="216000"/>
              </a:xfrm>
              <a:prstGeom prst="rect">
                <a:avLst/>
              </a:prstGeom>
              <a:solidFill>
                <a:schemeClr val="accent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54" name="Rechteck 53"/>
              <p:cNvSpPr/>
              <p:nvPr/>
            </p:nvSpPr>
            <p:spPr bwMode="auto">
              <a:xfrm>
                <a:off x="1331640" y="1952836"/>
                <a:ext cx="216000" cy="216000"/>
              </a:xfrm>
              <a:prstGeom prst="rect">
                <a:avLst/>
              </a:prstGeom>
              <a:solidFill>
                <a:schemeClr val="accent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55" name="Rechteck 54"/>
              <p:cNvSpPr/>
              <p:nvPr/>
            </p:nvSpPr>
            <p:spPr bwMode="auto">
              <a:xfrm>
                <a:off x="1547688" y="1952860"/>
                <a:ext cx="216000" cy="216000"/>
              </a:xfrm>
              <a:prstGeom prst="rect">
                <a:avLst/>
              </a:prstGeom>
              <a:solidFill>
                <a:schemeClr val="accent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56" name="Rechteck 55"/>
              <p:cNvSpPr/>
              <p:nvPr/>
            </p:nvSpPr>
            <p:spPr bwMode="auto">
              <a:xfrm>
                <a:off x="1763712" y="1952836"/>
                <a:ext cx="216000" cy="216000"/>
              </a:xfrm>
              <a:prstGeom prst="rect">
                <a:avLst/>
              </a:prstGeom>
              <a:solidFill>
                <a:schemeClr val="accent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57" name="Rechteck 56"/>
              <p:cNvSpPr/>
              <p:nvPr/>
            </p:nvSpPr>
            <p:spPr bwMode="auto">
              <a:xfrm>
                <a:off x="1979712" y="1952860"/>
                <a:ext cx="216000" cy="216000"/>
              </a:xfrm>
              <a:prstGeom prst="rect">
                <a:avLst/>
              </a:prstGeom>
              <a:solidFill>
                <a:schemeClr val="accent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58" name="Rechteck 57"/>
              <p:cNvSpPr/>
              <p:nvPr/>
            </p:nvSpPr>
            <p:spPr bwMode="auto">
              <a:xfrm>
                <a:off x="2195736" y="1952836"/>
                <a:ext cx="216000" cy="216000"/>
              </a:xfrm>
              <a:prstGeom prst="rect">
                <a:avLst/>
              </a:prstGeom>
              <a:solidFill>
                <a:schemeClr val="accent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59" name="Rechteck 58"/>
              <p:cNvSpPr/>
              <p:nvPr/>
            </p:nvSpPr>
            <p:spPr bwMode="auto">
              <a:xfrm>
                <a:off x="2411784" y="1952860"/>
                <a:ext cx="216000" cy="216000"/>
              </a:xfrm>
              <a:prstGeom prst="rect">
                <a:avLst/>
              </a:prstGeom>
              <a:solidFill>
                <a:schemeClr val="accent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60" name="Rechteck 59"/>
              <p:cNvSpPr/>
              <p:nvPr/>
            </p:nvSpPr>
            <p:spPr bwMode="auto">
              <a:xfrm>
                <a:off x="2627808" y="1952836"/>
                <a:ext cx="216000" cy="216000"/>
              </a:xfrm>
              <a:prstGeom prst="rect">
                <a:avLst/>
              </a:prstGeom>
              <a:solidFill>
                <a:schemeClr val="accent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61" name="Rechteck 60"/>
              <p:cNvSpPr/>
              <p:nvPr/>
            </p:nvSpPr>
            <p:spPr bwMode="auto">
              <a:xfrm>
                <a:off x="2843808" y="1952860"/>
                <a:ext cx="216000" cy="216000"/>
              </a:xfrm>
              <a:prstGeom prst="rect">
                <a:avLst/>
              </a:prstGeom>
              <a:solidFill>
                <a:schemeClr val="accent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62" name="Rechteck 61"/>
              <p:cNvSpPr/>
              <p:nvPr/>
            </p:nvSpPr>
            <p:spPr bwMode="auto">
              <a:xfrm>
                <a:off x="3059832" y="1952836"/>
                <a:ext cx="216000" cy="216000"/>
              </a:xfrm>
              <a:prstGeom prst="rect">
                <a:avLst/>
              </a:prstGeom>
              <a:solidFill>
                <a:schemeClr val="accent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63" name="Rechteck 62"/>
              <p:cNvSpPr/>
              <p:nvPr/>
            </p:nvSpPr>
            <p:spPr bwMode="auto">
              <a:xfrm>
                <a:off x="3275880" y="1952860"/>
                <a:ext cx="216000" cy="216000"/>
              </a:xfrm>
              <a:prstGeom prst="rect">
                <a:avLst/>
              </a:prstGeom>
              <a:solidFill>
                <a:schemeClr val="accent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64" name="Rechteck 63"/>
              <p:cNvSpPr/>
              <p:nvPr/>
            </p:nvSpPr>
            <p:spPr bwMode="auto">
              <a:xfrm>
                <a:off x="3491904" y="1952836"/>
                <a:ext cx="216000" cy="216000"/>
              </a:xfrm>
              <a:prstGeom prst="rect">
                <a:avLst/>
              </a:prstGeom>
              <a:solidFill>
                <a:schemeClr val="accent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65" name="Rechteck 64"/>
              <p:cNvSpPr/>
              <p:nvPr/>
            </p:nvSpPr>
            <p:spPr bwMode="auto">
              <a:xfrm>
                <a:off x="3707904" y="1952860"/>
                <a:ext cx="216000" cy="216000"/>
              </a:xfrm>
              <a:prstGeom prst="rect">
                <a:avLst/>
              </a:prstGeom>
              <a:solidFill>
                <a:schemeClr val="accent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66" name="Rechteck 65"/>
              <p:cNvSpPr/>
              <p:nvPr/>
            </p:nvSpPr>
            <p:spPr bwMode="auto">
              <a:xfrm>
                <a:off x="3923928" y="1952836"/>
                <a:ext cx="216000" cy="216000"/>
              </a:xfrm>
              <a:prstGeom prst="rect">
                <a:avLst/>
              </a:prstGeom>
              <a:solidFill>
                <a:schemeClr val="accent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67" name="Rechteck 66"/>
              <p:cNvSpPr/>
              <p:nvPr/>
            </p:nvSpPr>
            <p:spPr bwMode="auto">
              <a:xfrm>
                <a:off x="4139976" y="1952860"/>
                <a:ext cx="216000" cy="216000"/>
              </a:xfrm>
              <a:prstGeom prst="rect">
                <a:avLst/>
              </a:prstGeom>
              <a:solidFill>
                <a:schemeClr val="accent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68" name="Rechteck 67"/>
              <p:cNvSpPr/>
              <p:nvPr/>
            </p:nvSpPr>
            <p:spPr bwMode="auto">
              <a:xfrm>
                <a:off x="4356000" y="1952836"/>
                <a:ext cx="216000" cy="216000"/>
              </a:xfrm>
              <a:prstGeom prst="rect">
                <a:avLst/>
              </a:prstGeom>
              <a:solidFill>
                <a:schemeClr val="accent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69" name="Rechteck 68"/>
              <p:cNvSpPr/>
              <p:nvPr/>
            </p:nvSpPr>
            <p:spPr bwMode="auto">
              <a:xfrm>
                <a:off x="4572000" y="1952860"/>
                <a:ext cx="216000" cy="216000"/>
              </a:xfrm>
              <a:prstGeom prst="rect">
                <a:avLst/>
              </a:prstGeom>
              <a:solidFill>
                <a:schemeClr val="accent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70" name="Rechteck 69"/>
              <p:cNvSpPr/>
              <p:nvPr/>
            </p:nvSpPr>
            <p:spPr bwMode="auto">
              <a:xfrm>
                <a:off x="4788024" y="1952836"/>
                <a:ext cx="216000" cy="216000"/>
              </a:xfrm>
              <a:prstGeom prst="rect">
                <a:avLst/>
              </a:prstGeom>
              <a:solidFill>
                <a:schemeClr val="accent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71" name="Rechteck 70"/>
              <p:cNvSpPr/>
              <p:nvPr/>
            </p:nvSpPr>
            <p:spPr bwMode="auto">
              <a:xfrm>
                <a:off x="5004072" y="1952860"/>
                <a:ext cx="216000" cy="216000"/>
              </a:xfrm>
              <a:prstGeom prst="rect">
                <a:avLst/>
              </a:prstGeom>
              <a:solidFill>
                <a:schemeClr val="accent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72" name="Rechteck 71"/>
              <p:cNvSpPr/>
              <p:nvPr/>
            </p:nvSpPr>
            <p:spPr bwMode="auto">
              <a:xfrm>
                <a:off x="5220096" y="1952836"/>
                <a:ext cx="216000" cy="216000"/>
              </a:xfrm>
              <a:prstGeom prst="rect">
                <a:avLst/>
              </a:prstGeom>
              <a:solidFill>
                <a:schemeClr val="accent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73" name="Rechteck 72"/>
              <p:cNvSpPr/>
              <p:nvPr/>
            </p:nvSpPr>
            <p:spPr bwMode="auto">
              <a:xfrm>
                <a:off x="5436096" y="1952860"/>
                <a:ext cx="216000" cy="216000"/>
              </a:xfrm>
              <a:prstGeom prst="rect">
                <a:avLst/>
              </a:prstGeom>
              <a:solidFill>
                <a:schemeClr val="accent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74" name="Rechteck 73"/>
              <p:cNvSpPr/>
              <p:nvPr/>
            </p:nvSpPr>
            <p:spPr bwMode="auto">
              <a:xfrm>
                <a:off x="5652120" y="1952836"/>
                <a:ext cx="216000" cy="216000"/>
              </a:xfrm>
              <a:prstGeom prst="rect">
                <a:avLst/>
              </a:prstGeom>
              <a:solidFill>
                <a:schemeClr val="accent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75" name="Rechteck 74"/>
              <p:cNvSpPr/>
              <p:nvPr/>
            </p:nvSpPr>
            <p:spPr bwMode="auto">
              <a:xfrm>
                <a:off x="5868168" y="1952860"/>
                <a:ext cx="216000" cy="216000"/>
              </a:xfrm>
              <a:prstGeom prst="rect">
                <a:avLst/>
              </a:prstGeom>
              <a:solidFill>
                <a:schemeClr val="accent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76" name="Rechteck 75"/>
              <p:cNvSpPr/>
              <p:nvPr/>
            </p:nvSpPr>
            <p:spPr bwMode="auto">
              <a:xfrm>
                <a:off x="6084192" y="1952836"/>
                <a:ext cx="216000" cy="216000"/>
              </a:xfrm>
              <a:prstGeom prst="rect">
                <a:avLst/>
              </a:prstGeom>
              <a:solidFill>
                <a:schemeClr val="accent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77" name="Rechteck 76"/>
              <p:cNvSpPr/>
              <p:nvPr/>
            </p:nvSpPr>
            <p:spPr bwMode="auto">
              <a:xfrm>
                <a:off x="6300192" y="1952860"/>
                <a:ext cx="216000" cy="216000"/>
              </a:xfrm>
              <a:prstGeom prst="rect">
                <a:avLst/>
              </a:prstGeom>
              <a:solidFill>
                <a:schemeClr val="accent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78" name="Rechteck 77"/>
              <p:cNvSpPr/>
              <p:nvPr/>
            </p:nvSpPr>
            <p:spPr bwMode="auto">
              <a:xfrm>
                <a:off x="6516216" y="1952836"/>
                <a:ext cx="216000" cy="216000"/>
              </a:xfrm>
              <a:prstGeom prst="rect">
                <a:avLst/>
              </a:prstGeom>
              <a:solidFill>
                <a:schemeClr val="accent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79" name="Rechteck 78"/>
              <p:cNvSpPr/>
              <p:nvPr/>
            </p:nvSpPr>
            <p:spPr bwMode="auto">
              <a:xfrm>
                <a:off x="6732264" y="1952860"/>
                <a:ext cx="216000" cy="216000"/>
              </a:xfrm>
              <a:prstGeom prst="rect">
                <a:avLst/>
              </a:prstGeom>
              <a:solidFill>
                <a:schemeClr val="accent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80" name="Rechteck 79"/>
              <p:cNvSpPr/>
              <p:nvPr/>
            </p:nvSpPr>
            <p:spPr bwMode="auto">
              <a:xfrm>
                <a:off x="6948288" y="1952836"/>
                <a:ext cx="216000" cy="216000"/>
              </a:xfrm>
              <a:prstGeom prst="rect">
                <a:avLst/>
              </a:prstGeom>
              <a:solidFill>
                <a:schemeClr val="accent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81" name="Rechteck 80"/>
              <p:cNvSpPr/>
              <p:nvPr/>
            </p:nvSpPr>
            <p:spPr bwMode="auto">
              <a:xfrm>
                <a:off x="7164288" y="1952860"/>
                <a:ext cx="216000" cy="216000"/>
              </a:xfrm>
              <a:prstGeom prst="rect">
                <a:avLst/>
              </a:prstGeom>
              <a:solidFill>
                <a:schemeClr val="accent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82" name="Rechteck 81"/>
              <p:cNvSpPr/>
              <p:nvPr/>
            </p:nvSpPr>
            <p:spPr bwMode="auto">
              <a:xfrm>
                <a:off x="7380312" y="1952836"/>
                <a:ext cx="216000" cy="216000"/>
              </a:xfrm>
              <a:prstGeom prst="rect">
                <a:avLst/>
              </a:prstGeom>
              <a:solidFill>
                <a:schemeClr val="accent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83" name="Rechteck 82"/>
              <p:cNvSpPr/>
              <p:nvPr/>
            </p:nvSpPr>
            <p:spPr bwMode="auto">
              <a:xfrm>
                <a:off x="7596360" y="1952860"/>
                <a:ext cx="216000" cy="216000"/>
              </a:xfrm>
              <a:prstGeom prst="rect">
                <a:avLst/>
              </a:prstGeom>
              <a:solidFill>
                <a:schemeClr val="accent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84" name="Rechteck 83"/>
              <p:cNvSpPr/>
              <p:nvPr/>
            </p:nvSpPr>
            <p:spPr bwMode="auto">
              <a:xfrm>
                <a:off x="7812384" y="1952836"/>
                <a:ext cx="216000" cy="216000"/>
              </a:xfrm>
              <a:prstGeom prst="rect">
                <a:avLst/>
              </a:prstGeom>
              <a:solidFill>
                <a:schemeClr val="accent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30" name="Ellipse 29"/>
            <p:cNvSpPr/>
            <p:nvPr/>
          </p:nvSpPr>
          <p:spPr bwMode="auto">
            <a:xfrm>
              <a:off x="251552" y="1196753"/>
              <a:ext cx="360000" cy="360000"/>
            </a:xfrm>
            <a:prstGeom prst="ellipse">
              <a:avLst/>
            </a:prstGeom>
            <a:solidFill>
              <a:schemeClr val="accent3"/>
            </a:solidFill>
            <a:ln w="381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266700" marR="0" indent="-26670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100000"/>
                </a:spcAft>
                <a:buClr>
                  <a:schemeClr val="accent1"/>
                </a:buClr>
                <a:buSzTx/>
                <a:buFont typeface="Arial" pitchFamily="34" charset="0"/>
                <a:buChar char="&gt;"/>
                <a:tabLst/>
              </a:pPr>
              <a:endParaRPr kumimoji="0" lang="de-DE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</a:endParaRPr>
            </a:p>
          </p:txBody>
        </p:sp>
        <p:grpSp>
          <p:nvGrpSpPr>
            <p:cNvPr id="32" name="Gruppieren 31"/>
            <p:cNvGrpSpPr/>
            <p:nvPr/>
          </p:nvGrpSpPr>
          <p:grpSpPr>
            <a:xfrm>
              <a:off x="8316416" y="1124745"/>
              <a:ext cx="504000" cy="504000"/>
              <a:chOff x="4499992" y="2744980"/>
              <a:chExt cx="504000" cy="504000"/>
            </a:xfrm>
            <a:solidFill>
              <a:schemeClr val="bg1"/>
            </a:solidFill>
            <a:scene3d>
              <a:camera prst="perspectiveContrastingLeftFacing" fov="0">
                <a:rot lat="0" lon="1200001" rev="0"/>
              </a:camera>
              <a:lightRig rig="threePt" dir="t"/>
            </a:scene3d>
          </p:grpSpPr>
          <p:sp>
            <p:nvSpPr>
              <p:cNvPr id="45" name="Ellipse 44"/>
              <p:cNvSpPr/>
              <p:nvPr/>
            </p:nvSpPr>
            <p:spPr bwMode="auto">
              <a:xfrm>
                <a:off x="4499992" y="2744980"/>
                <a:ext cx="504000" cy="504000"/>
              </a:xfrm>
              <a:prstGeom prst="ellipse">
                <a:avLst/>
              </a:prstGeom>
              <a:grpFill/>
              <a:ln w="38100" cap="flat" cmpd="sng" algn="ctr">
                <a:solidFill>
                  <a:schemeClr val="accent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 extrusionH="127000" prstMaterial="matte"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46" name="Ellipse 45"/>
              <p:cNvSpPr/>
              <p:nvPr/>
            </p:nvSpPr>
            <p:spPr bwMode="auto">
              <a:xfrm>
                <a:off x="4572040" y="2816972"/>
                <a:ext cx="360000" cy="360000"/>
              </a:xfrm>
              <a:prstGeom prst="ellipse">
                <a:avLst/>
              </a:prstGeom>
              <a:grpFill/>
              <a:ln w="38100" cap="flat" cmpd="sng" algn="ctr">
                <a:solidFill>
                  <a:schemeClr val="accent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 z="6350" extrusionH="127000" prstMaterial="matte"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47" name="Ellipse 46"/>
              <p:cNvSpPr/>
              <p:nvPr/>
            </p:nvSpPr>
            <p:spPr bwMode="auto">
              <a:xfrm>
                <a:off x="4644032" y="2888995"/>
                <a:ext cx="216000" cy="216000"/>
              </a:xfrm>
              <a:prstGeom prst="ellipse">
                <a:avLst/>
              </a:prstGeom>
              <a:grpFill/>
              <a:ln w="38100" cap="flat" cmpd="sng" algn="ctr">
                <a:solidFill>
                  <a:schemeClr val="accent3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 z="12700" extrusionH="127000" prstMaterial="matte"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  <p:sp>
            <p:nvSpPr>
              <p:cNvPr id="48" name="Ellipse 47"/>
              <p:cNvSpPr/>
              <p:nvPr/>
            </p:nvSpPr>
            <p:spPr bwMode="auto">
              <a:xfrm>
                <a:off x="4716024" y="2961003"/>
                <a:ext cx="72000" cy="72000"/>
              </a:xfrm>
              <a:prstGeom prst="ellipse">
                <a:avLst/>
              </a:prstGeom>
              <a:solidFill>
                <a:schemeClr val="accent1"/>
              </a:solidFill>
              <a:ln w="3810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sp3d z="19050" extrusionH="127000" prstMaterial="matte"/>
            </p:spPr>
            <p:txBody>
              <a:bodyPr vert="horz" wrap="square" lIns="90000" tIns="46800" rIns="90000" bIns="4680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266700" marR="0" indent="-26670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100000"/>
                  </a:spcAft>
                  <a:buClr>
                    <a:schemeClr val="accent1"/>
                  </a:buClr>
                  <a:buSzTx/>
                  <a:buFont typeface="Arial" pitchFamily="34" charset="0"/>
                  <a:buChar char="&gt;"/>
                  <a:tabLst/>
                </a:pPr>
                <a:endParaRPr kumimoji="0" lang="de-DE" sz="20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Calibri" panose="020F0502020204030204" pitchFamily="34" charset="0"/>
                </a:endParaRPr>
              </a:p>
            </p:txBody>
          </p:sp>
        </p:grpSp>
        <p:sp>
          <p:nvSpPr>
            <p:cNvPr id="33" name="Rechteck 12"/>
            <p:cNvSpPr/>
            <p:nvPr/>
          </p:nvSpPr>
          <p:spPr bwMode="auto">
            <a:xfrm>
              <a:off x="539552" y="1340775"/>
              <a:ext cx="7056000" cy="72000"/>
            </a:xfrm>
            <a:custGeom>
              <a:avLst/>
              <a:gdLst>
                <a:gd name="connsiteX0" fmla="*/ 0 w 2412000"/>
                <a:gd name="connsiteY0" fmla="*/ 0 h 108000"/>
                <a:gd name="connsiteX1" fmla="*/ 2412000 w 2412000"/>
                <a:gd name="connsiteY1" fmla="*/ 0 h 108000"/>
                <a:gd name="connsiteX2" fmla="*/ 2412000 w 2412000"/>
                <a:gd name="connsiteY2" fmla="*/ 108000 h 108000"/>
                <a:gd name="connsiteX3" fmla="*/ 0 w 2412000"/>
                <a:gd name="connsiteY3" fmla="*/ 108000 h 108000"/>
                <a:gd name="connsiteX4" fmla="*/ 0 w 2412000"/>
                <a:gd name="connsiteY4" fmla="*/ 0 h 108000"/>
                <a:gd name="connsiteX0" fmla="*/ 0 w 2412000"/>
                <a:gd name="connsiteY0" fmla="*/ 0 h 463205"/>
                <a:gd name="connsiteX1" fmla="*/ 2412000 w 2412000"/>
                <a:gd name="connsiteY1" fmla="*/ 0 h 463205"/>
                <a:gd name="connsiteX2" fmla="*/ 2412000 w 2412000"/>
                <a:gd name="connsiteY2" fmla="*/ 108000 h 463205"/>
                <a:gd name="connsiteX3" fmla="*/ 0 w 2412000"/>
                <a:gd name="connsiteY3" fmla="*/ 108000 h 463205"/>
                <a:gd name="connsiteX4" fmla="*/ 774782 w 2412000"/>
                <a:gd name="connsiteY4" fmla="*/ 462442 h 463205"/>
                <a:gd name="connsiteX5" fmla="*/ 0 w 2412000"/>
                <a:gd name="connsiteY5" fmla="*/ 0 h 463205"/>
                <a:gd name="connsiteX0" fmla="*/ 774782 w 2412000"/>
                <a:gd name="connsiteY0" fmla="*/ 462442 h 553882"/>
                <a:gd name="connsiteX1" fmla="*/ 0 w 2412000"/>
                <a:gd name="connsiteY1" fmla="*/ 0 h 553882"/>
                <a:gd name="connsiteX2" fmla="*/ 2412000 w 2412000"/>
                <a:gd name="connsiteY2" fmla="*/ 0 h 553882"/>
                <a:gd name="connsiteX3" fmla="*/ 2412000 w 2412000"/>
                <a:gd name="connsiteY3" fmla="*/ 108000 h 553882"/>
                <a:gd name="connsiteX4" fmla="*/ 0 w 2412000"/>
                <a:gd name="connsiteY4" fmla="*/ 108000 h 553882"/>
                <a:gd name="connsiteX5" fmla="*/ 866222 w 2412000"/>
                <a:gd name="connsiteY5" fmla="*/ 553882 h 553882"/>
                <a:gd name="connsiteX0" fmla="*/ 774782 w 2412000"/>
                <a:gd name="connsiteY0" fmla="*/ 462442 h 462442"/>
                <a:gd name="connsiteX1" fmla="*/ 0 w 2412000"/>
                <a:gd name="connsiteY1" fmla="*/ 0 h 462442"/>
                <a:gd name="connsiteX2" fmla="*/ 2412000 w 2412000"/>
                <a:gd name="connsiteY2" fmla="*/ 0 h 462442"/>
                <a:gd name="connsiteX3" fmla="*/ 2412000 w 2412000"/>
                <a:gd name="connsiteY3" fmla="*/ 108000 h 462442"/>
                <a:gd name="connsiteX4" fmla="*/ 0 w 2412000"/>
                <a:gd name="connsiteY4" fmla="*/ 108000 h 462442"/>
                <a:gd name="connsiteX0" fmla="*/ 0 w 2412000"/>
                <a:gd name="connsiteY0" fmla="*/ 0 h 108000"/>
                <a:gd name="connsiteX1" fmla="*/ 2412000 w 2412000"/>
                <a:gd name="connsiteY1" fmla="*/ 0 h 108000"/>
                <a:gd name="connsiteX2" fmla="*/ 2412000 w 2412000"/>
                <a:gd name="connsiteY2" fmla="*/ 108000 h 108000"/>
                <a:gd name="connsiteX3" fmla="*/ 0 w 2412000"/>
                <a:gd name="connsiteY3" fmla="*/ 108000 h 10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2000" h="108000">
                  <a:moveTo>
                    <a:pt x="0" y="0"/>
                  </a:moveTo>
                  <a:lnTo>
                    <a:pt x="2412000" y="0"/>
                  </a:lnTo>
                  <a:lnTo>
                    <a:pt x="2412000" y="108000"/>
                  </a:lnTo>
                  <a:lnTo>
                    <a:pt x="0" y="108000"/>
                  </a:lnTo>
                </a:path>
              </a:pathLst>
            </a:custGeom>
            <a:solidFill>
              <a:schemeClr val="accent1"/>
            </a:solidFill>
            <a:ln w="381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266700" marR="0" indent="-26670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100000"/>
                </a:spcAft>
                <a:buClr>
                  <a:schemeClr val="accent1"/>
                </a:buClr>
                <a:buSzTx/>
                <a:buFont typeface="Arial" pitchFamily="34" charset="0"/>
                <a:buChar char="&gt;"/>
                <a:tabLst/>
              </a:pPr>
              <a:endParaRPr kumimoji="0" lang="de-DE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35" name="Textfeld 34"/>
            <p:cNvSpPr txBox="1"/>
            <p:nvPr/>
          </p:nvSpPr>
          <p:spPr>
            <a:xfrm>
              <a:off x="503612" y="1520787"/>
              <a:ext cx="576000" cy="180021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600" b="1" dirty="0" smtClean="0">
                  <a:latin typeface="Calibri" panose="020F0502020204030204" pitchFamily="34" charset="0"/>
                </a:rPr>
                <a:t>2015</a:t>
              </a:r>
            </a:p>
          </p:txBody>
        </p:sp>
        <p:cxnSp>
          <p:nvCxnSpPr>
            <p:cNvPr id="36" name="Gerade Verbindung 35"/>
            <p:cNvCxnSpPr>
              <a:endCxn id="35" idx="0"/>
            </p:cNvCxnSpPr>
            <p:nvPr/>
          </p:nvCxnSpPr>
          <p:spPr bwMode="auto">
            <a:xfrm>
              <a:off x="791612" y="1232784"/>
              <a:ext cx="0" cy="288004"/>
            </a:xfrm>
            <a:prstGeom prst="line">
              <a:avLst/>
            </a:prstGeom>
            <a:solidFill>
              <a:schemeClr val="bg1"/>
            </a:solidFill>
            <a:ln w="381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37" name="Textfeld 36"/>
            <p:cNvSpPr txBox="1"/>
            <p:nvPr/>
          </p:nvSpPr>
          <p:spPr>
            <a:xfrm>
              <a:off x="3095900" y="1520760"/>
              <a:ext cx="576000" cy="180021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600" b="1" dirty="0" smtClean="0">
                  <a:latin typeface="Calibri" panose="020F0502020204030204" pitchFamily="34" charset="0"/>
                </a:rPr>
                <a:t>2016</a:t>
              </a:r>
            </a:p>
          </p:txBody>
        </p:sp>
        <p:cxnSp>
          <p:nvCxnSpPr>
            <p:cNvPr id="38" name="Gerade Verbindung 37"/>
            <p:cNvCxnSpPr>
              <a:endCxn id="37" idx="0"/>
            </p:cNvCxnSpPr>
            <p:nvPr/>
          </p:nvCxnSpPr>
          <p:spPr bwMode="auto">
            <a:xfrm>
              <a:off x="3383900" y="1232756"/>
              <a:ext cx="0" cy="288004"/>
            </a:xfrm>
            <a:prstGeom prst="line">
              <a:avLst/>
            </a:prstGeom>
            <a:solidFill>
              <a:schemeClr val="bg1"/>
            </a:solidFill>
            <a:ln w="381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39" name="Textfeld 38"/>
            <p:cNvSpPr txBox="1"/>
            <p:nvPr/>
          </p:nvSpPr>
          <p:spPr>
            <a:xfrm>
              <a:off x="5688188" y="1520787"/>
              <a:ext cx="576000" cy="180021"/>
            </a:xfrm>
            <a:prstGeom prst="rect">
              <a:avLst/>
            </a:prstGeom>
            <a:noFill/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non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600" b="1" dirty="0" smtClean="0">
                  <a:latin typeface="Calibri" panose="020F0502020204030204" pitchFamily="34" charset="0"/>
                </a:rPr>
                <a:t>2017</a:t>
              </a:r>
            </a:p>
          </p:txBody>
        </p:sp>
        <p:cxnSp>
          <p:nvCxnSpPr>
            <p:cNvPr id="40" name="Gerade Verbindung 39"/>
            <p:cNvCxnSpPr>
              <a:endCxn id="39" idx="0"/>
            </p:cNvCxnSpPr>
            <p:nvPr/>
          </p:nvCxnSpPr>
          <p:spPr bwMode="auto">
            <a:xfrm>
              <a:off x="5976188" y="1232784"/>
              <a:ext cx="0" cy="288004"/>
            </a:xfrm>
            <a:prstGeom prst="line">
              <a:avLst/>
            </a:prstGeom>
            <a:solidFill>
              <a:schemeClr val="bg1"/>
            </a:solidFill>
            <a:ln w="381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41" name="Gleichschenkliges Dreieck 40"/>
            <p:cNvSpPr/>
            <p:nvPr/>
          </p:nvSpPr>
          <p:spPr bwMode="auto">
            <a:xfrm rot="5400000">
              <a:off x="8136404" y="1196799"/>
              <a:ext cx="504000" cy="360000"/>
            </a:xfrm>
            <a:prstGeom prst="triangle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266700" marR="0" indent="-26670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100000"/>
                </a:spcAft>
                <a:buClr>
                  <a:schemeClr val="accent1"/>
                </a:buClr>
                <a:buSzTx/>
                <a:buFont typeface="Arial" pitchFamily="34" charset="0"/>
                <a:buChar char="&gt;"/>
                <a:tabLst/>
              </a:pPr>
              <a:endParaRPr kumimoji="0" lang="de-DE" sz="20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42" name="Ellipse 41"/>
            <p:cNvSpPr/>
            <p:nvPr/>
          </p:nvSpPr>
          <p:spPr bwMode="auto">
            <a:xfrm>
              <a:off x="287548" y="1232789"/>
              <a:ext cx="288000" cy="288000"/>
            </a:xfrm>
            <a:prstGeom prst="ellipse">
              <a:avLst/>
            </a:prstGeom>
            <a:solidFill>
              <a:schemeClr val="accent1"/>
            </a:solidFill>
            <a:ln w="38100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1" compatLnSpc="1">
              <a:prstTxWarp prst="textNoShape">
                <a:avLst/>
              </a:prstTxWarp>
            </a:bodyPr>
            <a:lstStyle/>
            <a:p>
              <a:pPr marR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100000"/>
                </a:spcAft>
                <a:buClr>
                  <a:schemeClr val="accent1"/>
                </a:buClr>
                <a:buSzTx/>
                <a:tabLst/>
              </a:pPr>
              <a:endParaRPr kumimoji="0" lang="de-DE" sz="1400" b="1" i="0" u="none" strike="noStrike" cap="none" normalizeH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Calibri" panose="020F0502020204030204" pitchFamily="34" charset="0"/>
              </a:endParaRPr>
            </a:p>
          </p:txBody>
        </p:sp>
        <p:sp>
          <p:nvSpPr>
            <p:cNvPr id="43" name="Ellipse 42"/>
            <p:cNvSpPr/>
            <p:nvPr/>
          </p:nvSpPr>
          <p:spPr bwMode="auto">
            <a:xfrm>
              <a:off x="323528" y="1232757"/>
              <a:ext cx="288000" cy="288000"/>
            </a:xfrm>
            <a:prstGeom prst="ellipse">
              <a:avLst/>
            </a:prstGeom>
            <a:noFill/>
            <a:ln w="381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1" compatLnSpc="1">
              <a:prstTxWarp prst="textNoShape">
                <a:avLst/>
              </a:prstTxWarp>
            </a:bodyPr>
            <a:lstStyle/>
            <a:p>
              <a:pPr marR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100000"/>
                </a:spcAft>
                <a:buClr>
                  <a:schemeClr val="accent1"/>
                </a:buClr>
                <a:buSzTx/>
                <a:tabLst/>
              </a:pPr>
              <a:endParaRPr kumimoji="0" lang="de-DE" sz="1400" b="1" i="0" u="none" strike="noStrike" cap="none" normalizeH="0" baseline="10000" dirty="0" smtClean="0">
                <a:ln>
                  <a:noFill/>
                </a:ln>
                <a:solidFill>
                  <a:schemeClr val="bg1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44" name="Rechteck 12"/>
            <p:cNvSpPr/>
            <p:nvPr/>
          </p:nvSpPr>
          <p:spPr bwMode="auto">
            <a:xfrm>
              <a:off x="7632284" y="1321698"/>
              <a:ext cx="648000" cy="100800"/>
            </a:xfrm>
            <a:custGeom>
              <a:avLst/>
              <a:gdLst>
                <a:gd name="connsiteX0" fmla="*/ 0 w 2412000"/>
                <a:gd name="connsiteY0" fmla="*/ 0 h 108000"/>
                <a:gd name="connsiteX1" fmla="*/ 2412000 w 2412000"/>
                <a:gd name="connsiteY1" fmla="*/ 0 h 108000"/>
                <a:gd name="connsiteX2" fmla="*/ 2412000 w 2412000"/>
                <a:gd name="connsiteY2" fmla="*/ 108000 h 108000"/>
                <a:gd name="connsiteX3" fmla="*/ 0 w 2412000"/>
                <a:gd name="connsiteY3" fmla="*/ 108000 h 108000"/>
                <a:gd name="connsiteX4" fmla="*/ 0 w 2412000"/>
                <a:gd name="connsiteY4" fmla="*/ 0 h 108000"/>
                <a:gd name="connsiteX0" fmla="*/ 0 w 2412000"/>
                <a:gd name="connsiteY0" fmla="*/ 0 h 463205"/>
                <a:gd name="connsiteX1" fmla="*/ 2412000 w 2412000"/>
                <a:gd name="connsiteY1" fmla="*/ 0 h 463205"/>
                <a:gd name="connsiteX2" fmla="*/ 2412000 w 2412000"/>
                <a:gd name="connsiteY2" fmla="*/ 108000 h 463205"/>
                <a:gd name="connsiteX3" fmla="*/ 0 w 2412000"/>
                <a:gd name="connsiteY3" fmla="*/ 108000 h 463205"/>
                <a:gd name="connsiteX4" fmla="*/ 774782 w 2412000"/>
                <a:gd name="connsiteY4" fmla="*/ 462442 h 463205"/>
                <a:gd name="connsiteX5" fmla="*/ 0 w 2412000"/>
                <a:gd name="connsiteY5" fmla="*/ 0 h 463205"/>
                <a:gd name="connsiteX0" fmla="*/ 774782 w 2412000"/>
                <a:gd name="connsiteY0" fmla="*/ 462442 h 553882"/>
                <a:gd name="connsiteX1" fmla="*/ 0 w 2412000"/>
                <a:gd name="connsiteY1" fmla="*/ 0 h 553882"/>
                <a:gd name="connsiteX2" fmla="*/ 2412000 w 2412000"/>
                <a:gd name="connsiteY2" fmla="*/ 0 h 553882"/>
                <a:gd name="connsiteX3" fmla="*/ 2412000 w 2412000"/>
                <a:gd name="connsiteY3" fmla="*/ 108000 h 553882"/>
                <a:gd name="connsiteX4" fmla="*/ 0 w 2412000"/>
                <a:gd name="connsiteY4" fmla="*/ 108000 h 553882"/>
                <a:gd name="connsiteX5" fmla="*/ 866222 w 2412000"/>
                <a:gd name="connsiteY5" fmla="*/ 553882 h 553882"/>
                <a:gd name="connsiteX0" fmla="*/ 774782 w 2412000"/>
                <a:gd name="connsiteY0" fmla="*/ 462442 h 462442"/>
                <a:gd name="connsiteX1" fmla="*/ 0 w 2412000"/>
                <a:gd name="connsiteY1" fmla="*/ 0 h 462442"/>
                <a:gd name="connsiteX2" fmla="*/ 2412000 w 2412000"/>
                <a:gd name="connsiteY2" fmla="*/ 0 h 462442"/>
                <a:gd name="connsiteX3" fmla="*/ 2412000 w 2412000"/>
                <a:gd name="connsiteY3" fmla="*/ 108000 h 462442"/>
                <a:gd name="connsiteX4" fmla="*/ 0 w 2412000"/>
                <a:gd name="connsiteY4" fmla="*/ 108000 h 462442"/>
                <a:gd name="connsiteX0" fmla="*/ 0 w 2412000"/>
                <a:gd name="connsiteY0" fmla="*/ 0 h 108000"/>
                <a:gd name="connsiteX1" fmla="*/ 2412000 w 2412000"/>
                <a:gd name="connsiteY1" fmla="*/ 0 h 108000"/>
                <a:gd name="connsiteX2" fmla="*/ 2412000 w 2412000"/>
                <a:gd name="connsiteY2" fmla="*/ 108000 h 108000"/>
                <a:gd name="connsiteX3" fmla="*/ 0 w 2412000"/>
                <a:gd name="connsiteY3" fmla="*/ 108000 h 10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2000" h="108000">
                  <a:moveTo>
                    <a:pt x="0" y="0"/>
                  </a:moveTo>
                  <a:lnTo>
                    <a:pt x="2412000" y="0"/>
                  </a:lnTo>
                  <a:lnTo>
                    <a:pt x="2412000" y="108000"/>
                  </a:lnTo>
                  <a:lnTo>
                    <a:pt x="0" y="108000"/>
                  </a:lnTo>
                </a:path>
              </a:pathLst>
            </a:custGeom>
            <a:solidFill>
              <a:schemeClr val="accent2"/>
            </a:solidFill>
            <a:ln w="381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0" tIns="46800" rIns="0" bIns="46800" numCol="1" rtlCol="0" anchor="ctr" anchorCtr="0" compatLnSpc="1">
              <a:prstTxWarp prst="textNoShape">
                <a:avLst/>
              </a:prstTxWarp>
            </a:bodyPr>
            <a:lstStyle/>
            <a:p>
              <a:pPr marR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100000"/>
                </a:spcAft>
                <a:buClr>
                  <a:schemeClr val="accent1"/>
                </a:buClr>
                <a:buSzTx/>
                <a:tabLst/>
              </a:pPr>
              <a:r>
                <a:rPr kumimoji="0" lang="de-DE" sz="1600" b="1" i="0" u="none" strike="noStrike" cap="none" normalizeH="0" baseline="0" dirty="0" smtClean="0">
                  <a:ln>
                    <a:noFill/>
                  </a:ln>
                  <a:solidFill>
                    <a:schemeClr val="accent1"/>
                  </a:solidFill>
                  <a:latin typeface="Calibri" panose="020F0502020204030204" pitchFamily="34" charset="0"/>
                </a:rPr>
                <a:t>Demo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20634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Px2xJp4E2lmxKxO.eVW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ad5T6Q4Ue.jloY4QtPE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yGcN7EmkGGdnSgVwUmv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ELoVaKMO0WdpNPq_w52u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yprMQ75kOxSLZJEcgDN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EDa8OK1kmLaXxHPF9LI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QF0bkwf0CPZD9dxv9OR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oT65s3DE2M3YqSTIZfu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2rBWWbO0GJGDZhh.8Fu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RZDqviT06U2TrShSCVp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RLciYQekqqHMe0koAwk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QQgvJZikG_eheffxM8G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sJ3t9GYEKXuoPNe.uc0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SygY265kOs.AbVMbeOG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u8G00oI0mqJq6_ZMDAt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cchzYz3Eio2yVUjGM2Y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zZCMxk4UCCMf3xR.H.7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6YdhlwD0aaL6oQMI.iq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Jyw30PhEeQAQrrswqLm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Dd5_bJbUGWvyq5zpsVJ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Kd1lK5WEa8x0ky.1ulF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A6P0tcs06kI_K13cnhF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sFXRrl2rUGYR__bI3_ol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GEZI4Io0GP2AexNGDuI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FOOKjuZEW6HyiP.TRYN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dFd5XCX0amAXGWFnsk9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AWjXcZPEGLmwe1Xw_Nk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05RVVBgsk.ebzQqH2q90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x5ZIgz7EWvXLlC6qvuZ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_Ollru3UGTRj9lO3iJO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0Jdm8wLpEqEVXlWSG_38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39Z3SqBk.pV.Iwifn8z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fd4lZRvUK2UWtKoQQkW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pPAwYkP80eR0Q99QMaw5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zUw_aHU0.FoEdQcMJYT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vlP4EhKkytEZDkHmd0g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56_0kWcUC7lxCCyKyIh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2juJ4TSEC49.dKyNwPN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zeeh0sNk.Q9Ga0nGb_4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6sdR5mnESXJXumeE5gD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F9QPBSsUkaeLkZwZv7yK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4mZ0MqpkaSU3OtYDr1T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phOAD8XEushHefL1Z9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0lH7URzUCCA..6g8s.2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HQSTfpPEaC5IMh8fOF_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WgguSImEyxFcZTkycUC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TEKoj5eEaE0PJJNOyTd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TwZI0rXEKNiLtHMyhRU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SpnObh6UGNEAWhOMl.6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SADqK60ka0u20Y7f_rq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5uDQZ_lUK28leXCFlcn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P.2eWX4kK_6PaxigIXd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k7OKfiFEyGWSBg9og81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clspMzQU2_D1UD0auuo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uCuMwypE.xhgSS_RQRU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QQ_lFOgU6USZeOkd7kr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vu4xuz7kO9C2qau3t1K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IvOpNGtEOHmHRz4zXYZ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rnNfqkm0GYgMznmKU.I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2DvKkMqEWs7ui0FDNRz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prFBW3f0.CE4XlludeC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YI9YcEi02M8msiriicF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iSA2_e60iA.ompICCD.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Kjl45n7UCDAaq3M4Os5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CrOi01sU2992NvBi84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0rYWa890ecx2I6H2RQu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GsvEogmEaKqFQIaOV6c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T80BUWnU6sfpPxKl_5p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wS_xvqSEGLDrgScRKaa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6crloNJEaw73fejHOC4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Sgh82h10Gr_V9UM3VVF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T76jS5WkyRFAEOxCxDW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SM_uRBi5kasE9.u.w0Gy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zA3kBa9RU2.PYW7OB2ZA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_TEpCF70mnCXpUoI4H1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fWUxzY9E.E0PBKIyh5r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aQOVWHDd0G0r.ltaKrDn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KatejUFE62QdzS7B9ZO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Y52SPDrUaxFevnUgosbA"/>
</p:tagLst>
</file>

<file path=ppt/theme/theme1.xml><?xml version="1.0" encoding="utf-8"?>
<a:theme xmlns:a="http://schemas.openxmlformats.org/drawingml/2006/main" name="PaVN_Vorlage">
  <a:themeElements>
    <a:clrScheme name="RWE 2012-02-02">
      <a:dk1>
        <a:sysClr val="windowText" lastClr="000000"/>
      </a:dk1>
      <a:lt1>
        <a:sysClr val="window" lastClr="FFFFFF"/>
      </a:lt1>
      <a:dk2>
        <a:srgbClr val="8DCEED"/>
      </a:dk2>
      <a:lt2>
        <a:srgbClr val="FFDD00"/>
      </a:lt2>
      <a:accent1>
        <a:srgbClr val="0066AA"/>
      </a:accent1>
      <a:accent2>
        <a:srgbClr val="F49E00"/>
      </a:accent2>
      <a:accent3>
        <a:srgbClr val="89BA17"/>
      </a:accent3>
      <a:accent4>
        <a:srgbClr val="009932"/>
      </a:accent4>
      <a:accent5>
        <a:srgbClr val="E2001A"/>
      </a:accent5>
      <a:accent6>
        <a:srgbClr val="9D0D15"/>
      </a:accent6>
      <a:hlink>
        <a:srgbClr val="0000FF"/>
      </a:hlink>
      <a:folHlink>
        <a:srgbClr val="800080"/>
      </a:folHlink>
    </a:clrScheme>
    <a:fontScheme name="Standard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ctr" anchorCtr="0" compatLnSpc="1">
        <a:prstTxWarp prst="textNoShape">
          <a:avLst/>
        </a:prstTxWarp>
      </a:bodyPr>
      <a:lstStyle>
        <a:defPPr marL="266700" marR="0" indent="-26670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100000"/>
          </a:spcAft>
          <a:buClr>
            <a:schemeClr val="accent1"/>
          </a:buClr>
          <a:buSzTx/>
          <a:buFont typeface="Arial" pitchFamily="34" charset="0"/>
          <a:buChar char="&gt;"/>
          <a:tabLst/>
          <a:defRPr kumimoji="0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23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635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100000"/>
          </a:spcAft>
          <a:buClr>
            <a:schemeClr val="accent1"/>
          </a:buClr>
          <a:buSzTx/>
          <a:buFont typeface="Arial" pitchFamily="23" charset="0"/>
          <a:buNone/>
          <a:tabLst/>
          <a:defRPr kumimoji="0" lang="de-DE" sz="18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Arial" pitchFamily="23" charset="0"/>
          </a:defRPr>
        </a:defPPr>
      </a:lstStyle>
    </a:lnDef>
    <a:txDef>
      <a:spPr>
        <a:noFill/>
        <a:ln w="635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none" lIns="90000" tIns="46800" rIns="90000" bIns="4680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defRPr sz="2000" smtClean="0"/>
        </a:defPPr>
      </a:lstStyle>
    </a:txDef>
  </a:objectDefaults>
  <a:extraClrSchemeLst>
    <a:extraClrScheme>
      <a:clrScheme name="Standarddesign 1">
        <a:dk1>
          <a:srgbClr val="000000"/>
        </a:dk1>
        <a:lt1>
          <a:srgbClr val="FFFFFF"/>
        </a:lt1>
        <a:dk2>
          <a:srgbClr val="FFE600"/>
        </a:dk2>
        <a:lt2>
          <a:srgbClr val="565A5E"/>
        </a:lt2>
        <a:accent1>
          <a:srgbClr val="0050A6"/>
        </a:accent1>
        <a:accent2>
          <a:srgbClr val="3D67AE"/>
        </a:accent2>
        <a:accent3>
          <a:srgbClr val="FFFFFF"/>
        </a:accent3>
        <a:accent4>
          <a:srgbClr val="000000"/>
        </a:accent4>
        <a:accent5>
          <a:srgbClr val="AAB3D0"/>
        </a:accent5>
        <a:accent6>
          <a:srgbClr val="365D9D"/>
        </a:accent6>
        <a:hlink>
          <a:srgbClr val="99CCFF"/>
        </a:hlink>
        <a:folHlink>
          <a:srgbClr val="99BA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RWE 2012-02-02">
      <a:dk1>
        <a:sysClr val="windowText" lastClr="000000"/>
      </a:dk1>
      <a:lt1>
        <a:sysClr val="window" lastClr="FFFFFF"/>
      </a:lt1>
      <a:dk2>
        <a:srgbClr val="8DCEED"/>
      </a:dk2>
      <a:lt2>
        <a:srgbClr val="FFDD00"/>
      </a:lt2>
      <a:accent1>
        <a:srgbClr val="0066AA"/>
      </a:accent1>
      <a:accent2>
        <a:srgbClr val="F49E00"/>
      </a:accent2>
      <a:accent3>
        <a:srgbClr val="89BA17"/>
      </a:accent3>
      <a:accent4>
        <a:srgbClr val="009932"/>
      </a:accent4>
      <a:accent5>
        <a:srgbClr val="E2001A"/>
      </a:accent5>
      <a:accent6>
        <a:srgbClr val="9D0D15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Larissa">
  <a:themeElements>
    <a:clrScheme name="RWE 2012-02-02">
      <a:dk1>
        <a:sysClr val="windowText" lastClr="000000"/>
      </a:dk1>
      <a:lt1>
        <a:sysClr val="window" lastClr="FFFFFF"/>
      </a:lt1>
      <a:dk2>
        <a:srgbClr val="8DCEED"/>
      </a:dk2>
      <a:lt2>
        <a:srgbClr val="FFDD00"/>
      </a:lt2>
      <a:accent1>
        <a:srgbClr val="0066AA"/>
      </a:accent1>
      <a:accent2>
        <a:srgbClr val="F49E00"/>
      </a:accent2>
      <a:accent3>
        <a:srgbClr val="89BA17"/>
      </a:accent3>
      <a:accent4>
        <a:srgbClr val="009932"/>
      </a:accent4>
      <a:accent5>
        <a:srgbClr val="E2001A"/>
      </a:accent5>
      <a:accent6>
        <a:srgbClr val="9D0D15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8789F5B0C4A4E4096A20676CB98968D" ma:contentTypeVersion="2" ma:contentTypeDescription="Ein neues Dokument erstellen." ma:contentTypeScope="" ma:versionID="4c5b1b70d18d49bc7576c6c04d78944e">
  <xsd:schema xmlns:xsd="http://www.w3.org/2001/XMLSchema" xmlns:xs="http://www.w3.org/2001/XMLSchema" xmlns:p="http://schemas.microsoft.com/office/2006/metadata/properties" xmlns:ns2="38b6e330-2225-49f1-a787-bda25b6cae23" targetNamespace="http://schemas.microsoft.com/office/2006/metadata/properties" ma:root="true" ma:fieldsID="5788e688dea86c4ef22d254151338648" ns2:_="">
    <xsd:import namespace="38b6e330-2225-49f1-a787-bda25b6cae23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8b6e330-2225-49f1-a787-bda25b6cae2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377BDC9-B46B-4006-A5F5-86434736DEC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60F86FE-0AAB-4812-B3C8-CB28CA45C727}">
  <ds:schemaRefs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  <ds:schemaRef ds:uri="http://purl.org/dc/terms/"/>
    <ds:schemaRef ds:uri="http://purl.org/dc/dcmitype/"/>
    <ds:schemaRef ds:uri="http://purl.org/dc/elements/1.1/"/>
    <ds:schemaRef ds:uri="38b6e330-2225-49f1-a787-bda25b6cae23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E38990D-F34F-4921-9011-C6DA17EA1A2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8b6e330-2225-49f1-a787-bda25b6cae2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aVN_Vorlage</Template>
  <TotalTime>0</TotalTime>
  <Words>675</Words>
  <Application>Microsoft Office PowerPoint</Application>
  <PresentationFormat>Bildschirmpräsentation (4:3)</PresentationFormat>
  <Paragraphs>190</Paragraphs>
  <Slides>10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10</vt:i4>
      </vt:variant>
    </vt:vector>
  </HeadingPairs>
  <TitlesOfParts>
    <vt:vector size="11" baseType="lpstr">
      <vt:lpstr>PaVN_Vorlage</vt:lpstr>
      <vt:lpstr>Proaktives Verteilnetz - Proactive Distribution Grid</vt:lpstr>
      <vt:lpstr>The majority of the new producers are connected  to the distribution grids</vt:lpstr>
      <vt:lpstr>Traffic light concepts enable synergies between a market- and grid-driven usage of flexibility</vt:lpstr>
      <vt:lpstr>A valuable flexibility concept needs to incorporate grid and market interests in a common manner </vt:lpstr>
      <vt:lpstr>Interaction of Market &amp; Grid - Traffic light concept enables a flexible market environment</vt:lpstr>
      <vt:lpstr>Target: Creating an operational grid &lt;-&gt; market interaction model within a demanding environment</vt:lpstr>
      <vt:lpstr>The traffic light concept enhances current grid operation concepts on various levels</vt:lpstr>
      <vt:lpstr>By publishing the available power range, market participants are enabled to allocate flexibility best</vt:lpstr>
      <vt:lpstr>A real-life demonstration will take place in an area with high penetration of RES</vt:lpstr>
      <vt:lpstr>PowerPoint-Präsentation</vt:lpstr>
    </vt:vector>
  </TitlesOfParts>
  <Company>RW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„Das proaktive Verteilnetz“ 1. Lenkungskreissitzung</dc:title>
  <dc:subject>Subject</dc:subject>
  <dc:creator>sven.jundel@rwe.com</dc:creator>
  <cp:lastModifiedBy>Wiedemann, Thomas</cp:lastModifiedBy>
  <cp:revision>682</cp:revision>
  <cp:lastPrinted>2016-01-11T08:57:58Z</cp:lastPrinted>
  <dcterms:created xsi:type="dcterms:W3CDTF">2015-09-30T12:25:31Z</dcterms:created>
  <dcterms:modified xsi:type="dcterms:W3CDTF">2017-09-17T18:44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8789F5B0C4A4E4096A20676CB98968D</vt:lpwstr>
  </property>
</Properties>
</file>